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8"/>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Size Bracket" id="{84455777-5817-49A4-913A-285A4F550FB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3880000000000001</c:v>
                </c:pt>
                <c:pt idx="3">
                  <c:v>0.12379999999999999</c:v>
                </c:pt>
                <c:pt idx="4">
                  <c:v>0.42670000000000002</c:v>
                </c:pt>
                <c:pt idx="5">
                  <c:v>0.210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3880000000000001</c:v>
                </c:pt>
                <c:pt idx="3">
                  <c:v>0.12379999999999999</c:v>
                </c:pt>
                <c:pt idx="4">
                  <c:v>0.42670000000000002</c:v>
                </c:pt>
                <c:pt idx="5">
                  <c:v>0.210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9509999999999997</c:v>
                </c:pt>
                <c:pt idx="2">
                  <c:v>0.2591</c:v>
                </c:pt>
                <c:pt idx="3">
                  <c:v>9.8100000000000007E-2</c:v>
                </c:pt>
                <c:pt idx="4">
                  <c:v>0.32700000000000001</c:v>
                </c:pt>
                <c:pt idx="5">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420847365305087E-2</c:v>
                </c:pt>
                <c:pt idx="1">
                  <c:v>7.2127406664898808E-2</c:v>
                </c:pt>
                <c:pt idx="2">
                  <c:v>0.12448922101236951</c:v>
                </c:pt>
                <c:pt idx="3">
                  <c:v>0.22470231121719719</c:v>
                </c:pt>
                <c:pt idx="4">
                  <c:v>0.38898127765908436</c:v>
                </c:pt>
                <c:pt idx="5">
                  <c:v>0.169391846515174</c:v>
                </c:pt>
                <c:pt idx="6">
                  <c:v>3.887089565971113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4.6000614944831011E-3</c:v>
                </c:pt>
                <c:pt idx="2">
                  <c:v>4.0396976797371148E-3</c:v>
                </c:pt>
                <c:pt idx="3">
                  <c:v>1.5297670711260558E-3</c:v>
                </c:pt>
                <c:pt idx="4">
                  <c:v>5.0971253247874184E-3</c:v>
                </c:pt>
                <c:pt idx="5">
                  <c:v>3.218304762119427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0689545892969434E-2</c:v>
                </c:pt>
                <c:pt idx="1">
                  <c:v>4.6076311566490342E-2</c:v>
                </c:pt>
                <c:pt idx="2">
                  <c:v>5.6441440218281749E-2</c:v>
                </c:pt>
                <c:pt idx="3">
                  <c:v>6.7876128690747148E-2</c:v>
                </c:pt>
                <c:pt idx="4">
                  <c:v>0.17835365104065126</c:v>
                </c:pt>
                <c:pt idx="5">
                  <c:v>7.9182487174735278E-2</c:v>
                </c:pt>
                <c:pt idx="6">
                  <c:v>3.80569049119165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3243740375199208E-4</c:v>
                </c:pt>
                <c:pt idx="1">
                  <c:v>1.6380034880776263E-3</c:v>
                </c:pt>
                <c:pt idx="2">
                  <c:v>1.7644037333613471E-2</c:v>
                </c:pt>
                <c:pt idx="3">
                  <c:v>2.0187287348257345E-2</c:v>
                </c:pt>
                <c:pt idx="4">
                  <c:v>2.6736565775955151E-2</c:v>
                </c:pt>
                <c:pt idx="5">
                  <c:v>4.26263053903479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2156215788638701E-3</c:v>
                </c:pt>
                <c:pt idx="3">
                  <c:v>5.3611433946327116E-3</c:v>
                </c:pt>
                <c:pt idx="4">
                  <c:v>1.4681880154110255E-2</c:v>
                </c:pt>
                <c:pt idx="5">
                  <c:v>1.872192493968946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9988640685836626E-3</c:v>
                </c:pt>
                <c:pt idx="1">
                  <c:v>1.9813030115847761E-2</c:v>
                </c:pt>
                <c:pt idx="2">
                  <c:v>4.3148424201873294E-2</c:v>
                </c:pt>
                <c:pt idx="3">
                  <c:v>0.12974798471243393</c:v>
                </c:pt>
                <c:pt idx="4">
                  <c:v>0.16411205536358017</c:v>
                </c:pt>
                <c:pt idx="5">
                  <c:v>8.3752705831223045E-2</c:v>
                </c:pt>
                <c:pt idx="6">
                  <c:v>8.13990747794605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1469999999999998</c:v>
                </c:pt>
                <c:pt idx="2">
                  <c:v>0.22209999999999999</c:v>
                </c:pt>
                <c:pt idx="3">
                  <c:v>0.16370000000000001</c:v>
                </c:pt>
                <c:pt idx="4">
                  <c:v>0.25140000000000001</c:v>
                </c:pt>
                <c:pt idx="5">
                  <c:v>4.7600000000000003E-2</c:v>
                </c:pt>
                <c:pt idx="6">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224311620664997E-3</c:v>
                </c:pt>
                <c:pt idx="1">
                  <c:v>3.5024228602596755E-2</c:v>
                </c:pt>
                <c:pt idx="2">
                  <c:v>0.12071333981810425</c:v>
                </c:pt>
                <c:pt idx="3">
                  <c:v>0.24391384913602115</c:v>
                </c:pt>
                <c:pt idx="4">
                  <c:v>0.40695634767233718</c:v>
                </c:pt>
                <c:pt idx="5">
                  <c:v>0.18782239145357105</c:v>
                </c:pt>
                <c:pt idx="6">
                  <c:v>6.474121553031037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0005985421496842E-8</c:v>
                </c:pt>
                <c:pt idx="1">
                  <c:v>8.6650478069491103E-3</c:v>
                </c:pt>
                <c:pt idx="2">
                  <c:v>6.1156789289999458E-3</c:v>
                </c:pt>
                <c:pt idx="3">
                  <c:v>4.5068776053448561E-3</c:v>
                </c:pt>
                <c:pt idx="4">
                  <c:v>6.9227904018521035E-3</c:v>
                </c:pt>
                <c:pt idx="5">
                  <c:v>1.3118009281583032E-3</c:v>
                </c:pt>
                <c:pt idx="6">
                  <c:v>1.382105808234331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765554898353805E-4</c:v>
                </c:pt>
                <c:pt idx="1">
                  <c:v>1.5374292781490202E-2</c:v>
                </c:pt>
                <c:pt idx="2">
                  <c:v>5.0939292403561751E-2</c:v>
                </c:pt>
                <c:pt idx="3">
                  <c:v>7.513733277974001E-2</c:v>
                </c:pt>
                <c:pt idx="4">
                  <c:v>0.16236083613397123</c:v>
                </c:pt>
                <c:pt idx="5">
                  <c:v>9.4438366523478603E-2</c:v>
                </c:pt>
                <c:pt idx="6">
                  <c:v>5.7467654799836325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1470953989970035E-6</c:v>
                </c:pt>
                <c:pt idx="1">
                  <c:v>5.3503699626860053E-5</c:v>
                </c:pt>
                <c:pt idx="2">
                  <c:v>5.5068244632918888E-3</c:v>
                </c:pt>
                <c:pt idx="3">
                  <c:v>7.5244211679010454E-3</c:v>
                </c:pt>
                <c:pt idx="4">
                  <c:v>2.3103168195250143E-2</c:v>
                </c:pt>
                <c:pt idx="5">
                  <c:v>1.26255773396524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839083278226077E-3</c:v>
                </c:pt>
                <c:pt idx="2">
                  <c:v>8.5717999088995144E-3</c:v>
                </c:pt>
                <c:pt idx="3">
                  <c:v>2.0234423766032204E-2</c:v>
                </c:pt>
                <c:pt idx="4">
                  <c:v>1.329608101889782E-2</c:v>
                </c:pt>
                <c:pt idx="5">
                  <c:v>1.327005477078640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427085708467011E-3</c:v>
                </c:pt>
                <c:pt idx="1">
                  <c:v>9.1474759867079744E-3</c:v>
                </c:pt>
                <c:pt idx="2">
                  <c:v>4.9579744113351129E-2</c:v>
                </c:pt>
                <c:pt idx="3">
                  <c:v>0.1365107938170031</c:v>
                </c:pt>
                <c:pt idx="4">
                  <c:v>0.20127347192236586</c:v>
                </c:pt>
                <c:pt idx="5">
                  <c:v>8.9482660790890289E-2</c:v>
                </c:pt>
                <c:pt idx="6">
                  <c:v>5.891454922239720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239999999999997</c:v>
                </c:pt>
                <c:pt idx="2">
                  <c:v>0.27910000000000001</c:v>
                </c:pt>
                <c:pt idx="3">
                  <c:v>3.09E-2</c:v>
                </c:pt>
                <c:pt idx="4">
                  <c:v>0.3024</c:v>
                </c:pt>
                <c:pt idx="5">
                  <c:v>5.41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17E-3</c:v>
                </c:pt>
                <c:pt idx="1">
                  <c:v>3.3746952717115544E-2</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717458755761993E-7</c:v>
                </c:pt>
                <c:pt idx="1">
                  <c:v>1.0098768442806877E-2</c:v>
                </c:pt>
                <c:pt idx="2">
                  <c:v>8.4792398808792319E-3</c:v>
                </c:pt>
                <c:pt idx="3">
                  <c:v>9.400241152511937E-4</c:v>
                </c:pt>
                <c:pt idx="4">
                  <c:v>9.1858747512901778E-3</c:v>
                </c:pt>
                <c:pt idx="5">
                  <c:v>1.643238389048437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6729726484407787E-6</c:v>
                </c:pt>
                <c:pt idx="1">
                  <c:v>9.7136516272242276E-3</c:v>
                </c:pt>
                <c:pt idx="2">
                  <c:v>4.2992807337090502E-2</c:v>
                </c:pt>
                <c:pt idx="3">
                  <c:v>5.7954929570050925E-2</c:v>
                </c:pt>
                <c:pt idx="4">
                  <c:v>0.15777279699652327</c:v>
                </c:pt>
                <c:pt idx="5">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1822314328258191E-6</c:v>
                </c:pt>
                <c:pt idx="1">
                  <c:v>4.5743156296532397E-6</c:v>
                </c:pt>
                <c:pt idx="2">
                  <c:v>5.5932523229095844E-3</c:v>
                </c:pt>
                <c:pt idx="3">
                  <c:v>7.7629831741438445E-3</c:v>
                </c:pt>
                <c:pt idx="4">
                  <c:v>2.4335210428163334E-2</c:v>
                </c:pt>
                <c:pt idx="5">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3709601785048481E-3</c:v>
                </c:pt>
                <c:pt idx="2">
                  <c:v>6.4904626465531858E-3</c:v>
                </c:pt>
                <c:pt idx="3">
                  <c:v>6.6068575724320573E-3</c:v>
                </c:pt>
                <c:pt idx="4">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79837864261316E-3</c:v>
                </c:pt>
                <c:pt idx="1">
                  <c:v>1.1558998152949935E-2</c:v>
                </c:pt>
                <c:pt idx="2">
                  <c:v>5.5676465208278098E-2</c:v>
                </c:pt>
                <c:pt idx="3">
                  <c:v>0.15228780948580203</c:v>
                </c:pt>
                <c:pt idx="4">
                  <c:v>0.20929525632743223</c:v>
                </c:pt>
                <c:pt idx="5">
                  <c:v>0.1069108102552424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9509999999999997</c:v>
                </c:pt>
                <c:pt idx="2">
                  <c:v>0.2591</c:v>
                </c:pt>
                <c:pt idx="3">
                  <c:v>9.8100000000000007E-2</c:v>
                </c:pt>
                <c:pt idx="4">
                  <c:v>0.32700000000000001</c:v>
                </c:pt>
                <c:pt idx="5">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224311620664997E-3</c:v>
                </c:pt>
                <c:pt idx="1">
                  <c:v>3.5024228602596755E-2</c:v>
                </c:pt>
                <c:pt idx="2">
                  <c:v>0.12071333981810425</c:v>
                </c:pt>
                <c:pt idx="3">
                  <c:v>0.24391384913602115</c:v>
                </c:pt>
                <c:pt idx="4">
                  <c:v>0.40695634767233718</c:v>
                </c:pt>
                <c:pt idx="5">
                  <c:v>0.18782239145357105</c:v>
                </c:pt>
                <c:pt idx="6">
                  <c:v>6.474121553031037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129731068865128E-3</c:v>
                </c:pt>
                <c:pt idx="1">
                  <c:v>2.9687248740982775E-2</c:v>
                </c:pt>
                <c:pt idx="2">
                  <c:v>0.12761672668444915</c:v>
                </c:pt>
                <c:pt idx="3">
                  <c:v>0.2547365973255013</c:v>
                </c:pt>
                <c:pt idx="4">
                  <c:v>0.39683477834621461</c:v>
                </c:pt>
                <c:pt idx="5">
                  <c:v>0.17961729434078061</c:v>
                </c:pt>
                <c:pt idx="6">
                  <c:v>4.294381455185055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6945014307579982E-3</c:v>
                </c:pt>
                <c:pt idx="2">
                  <c:v>8.5135503042751953E-3</c:v>
                </c:pt>
                <c:pt idx="3">
                  <c:v>3.2239414793789559E-3</c:v>
                </c:pt>
                <c:pt idx="4">
                  <c:v>1.0741776736682298E-2</c:v>
                </c:pt>
                <c:pt idx="5">
                  <c:v>6.782487616393902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32153719448863E-2</c:v>
                </c:pt>
                <c:pt idx="2">
                  <c:v>4.0120650889835088E-2</c:v>
                </c:pt>
                <c:pt idx="3">
                  <c:v>5.5950724439345609E-2</c:v>
                </c:pt>
                <c:pt idx="4">
                  <c:v>0.13806127574211677</c:v>
                </c:pt>
                <c:pt idx="5">
                  <c:v>9.0238308254085103E-2</c:v>
                </c:pt>
                <c:pt idx="6">
                  <c:v>4.247152234761888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7768328824428072E-3</c:v>
                </c:pt>
                <c:pt idx="3">
                  <c:v>1.1298460329736477E-2</c:v>
                </c:pt>
                <c:pt idx="4">
                  <c:v>2.9381300928092789E-2</c:v>
                </c:pt>
                <c:pt idx="5">
                  <c:v>5.082293737976651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5793331596350784E-2</c:v>
                </c:pt>
                <c:pt idx="4">
                  <c:v>1.6599041892997782E-2</c:v>
                </c:pt>
                <c:pt idx="5">
                  <c:v>7.828265056446146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2129731068865128E-3</c:v>
                </c:pt>
                <c:pt idx="1">
                  <c:v>6.6712101157361484E-3</c:v>
                </c:pt>
                <c:pt idx="2">
                  <c:v>7.2205692607896069E-2</c:v>
                </c:pt>
                <c:pt idx="3">
                  <c:v>0.15847013948068944</c:v>
                </c:pt>
                <c:pt idx="4">
                  <c:v>0.202051383046325</c:v>
                </c:pt>
                <c:pt idx="5">
                  <c:v>8.7409681445613799E-2</c:v>
                </c:pt>
                <c:pt idx="6">
                  <c:v>4.722922042316661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4762365277406</c:v>
                </c:pt>
                <c:pt idx="4">
                  <c:v>2.2392250263764742E-2</c:v>
                </c:pt>
                <c:pt idx="5">
                  <c:v>0.48755572297648175</c:v>
                </c:pt>
                <c:pt idx="6">
                  <c:v>3.995413378428749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56419796612827</c:v>
                </c:pt>
                <c:pt idx="5">
                  <c:v>0.101443131574784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320161660164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82440708968630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0564399149137016E-4</c:v>
                </c:pt>
                <c:pt idx="4">
                  <c:v>2.2392250263764745E-2</c:v>
                </c:pt>
                <c:pt idx="5">
                  <c:v>0.13466690390319169</c:v>
                </c:pt>
                <c:pt idx="6">
                  <c:v>3.995413378428749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7976649108206537</c:v>
                </c:pt>
                <c:pt idx="5">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000311054065661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1538577255202636E-4</c:v>
                </c:pt>
                <c:pt idx="4">
                  <c:v>1.6386580516175055E-2</c:v>
                </c:pt>
                <c:pt idx="5">
                  <c:v>0.11375019107260274</c:v>
                </c:pt>
                <c:pt idx="6">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76427524467293</c:v>
                </c:pt>
                <c:pt idx="4">
                  <c:v>2.5567123997860344E-2</c:v>
                </c:pt>
                <c:pt idx="5">
                  <c:v>0.4786686007574667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3834329314389404E-3</c:v>
                </c:pt>
                <c:pt idx="3">
                  <c:v>2.7907734094205897E-3</c:v>
                </c:pt>
                <c:pt idx="4">
                  <c:v>9.616844874752466E-3</c:v>
                </c:pt>
                <c:pt idx="5">
                  <c:v>4.74918086723829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765554898353805E-4</c:v>
                </c:pt>
                <c:pt idx="1">
                  <c:v>1.5374292781490202E-2</c:v>
                </c:pt>
                <c:pt idx="2">
                  <c:v>5.0939292403561751E-2</c:v>
                </c:pt>
                <c:pt idx="3">
                  <c:v>7.513733277974001E-2</c:v>
                </c:pt>
                <c:pt idx="4">
                  <c:v>0.16236083613397123</c:v>
                </c:pt>
                <c:pt idx="5">
                  <c:v>9.4438366523478603E-2</c:v>
                </c:pt>
                <c:pt idx="6">
                  <c:v>5.7467654799836325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1470953989970035E-6</c:v>
                </c:pt>
                <c:pt idx="1">
                  <c:v>5.3503699626860053E-5</c:v>
                </c:pt>
                <c:pt idx="2">
                  <c:v>5.5068244632918888E-3</c:v>
                </c:pt>
                <c:pt idx="3">
                  <c:v>7.5244211679010454E-3</c:v>
                </c:pt>
                <c:pt idx="4">
                  <c:v>2.3103168195250143E-2</c:v>
                </c:pt>
                <c:pt idx="5">
                  <c:v>1.26255773396524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839083278226077E-3</c:v>
                </c:pt>
                <c:pt idx="2">
                  <c:v>8.5717999088995144E-3</c:v>
                </c:pt>
                <c:pt idx="3">
                  <c:v>2.0234423766032204E-2</c:v>
                </c:pt>
                <c:pt idx="4">
                  <c:v>1.329608101889782E-2</c:v>
                </c:pt>
                <c:pt idx="5">
                  <c:v>1.327005477078640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427285768321223E-3</c:v>
                </c:pt>
                <c:pt idx="1">
                  <c:v>1.7812523793657085E-2</c:v>
                </c:pt>
                <c:pt idx="2">
                  <c:v>5.0311990110912135E-2</c:v>
                </c:pt>
                <c:pt idx="3">
                  <c:v>0.13822689801292734</c:v>
                </c:pt>
                <c:pt idx="4">
                  <c:v>0.19857941744946547</c:v>
                </c:pt>
                <c:pt idx="5">
                  <c:v>8.6045280851810291E-2</c:v>
                </c:pt>
                <c:pt idx="6">
                  <c:v>7.273560730474052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576427524467293</c:v>
                </c:pt>
                <c:pt idx="5">
                  <c:v>8.060153991678430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3773196533055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176336138776839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2.5567123997860344E-2</c:v>
                </c:pt>
                <c:pt idx="5">
                  <c:v>0.13666025042994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674173673050519E-3</c:v>
                </c:pt>
                <c:pt idx="1">
                  <c:v>4.9921609106733524E-2</c:v>
                </c:pt>
                <c:pt idx="2">
                  <c:v>3.6855960605703302E-3</c:v>
                </c:pt>
                <c:pt idx="3">
                  <c:v>0.44228751521352899</c:v>
                </c:pt>
                <c:pt idx="4">
                  <c:v>0.48691224316865089</c:v>
                </c:pt>
                <c:pt idx="5">
                  <c:v>1.54256190832112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5.87057358751501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320870563595049</c:v>
                </c:pt>
                <c:pt idx="4">
                  <c:v>0.2254487616337281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5040447002959767</c:v>
                </c:pt>
                <c:pt idx="4">
                  <c:v>0.2029072579275226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049451713408091E-2</c:v>
                </c:pt>
                <c:pt idx="3">
                  <c:v>9.7793763502319244E-3</c:v>
                </c:pt>
                <c:pt idx="4">
                  <c:v>6.9978486221389073E-3</c:v>
                </c:pt>
                <c:pt idx="5">
                  <c:v>4.492362758480105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674173673050519E-3</c:v>
                </c:pt>
                <c:pt idx="1">
                  <c:v>1.5872157393325433E-2</c:v>
                </c:pt>
                <c:pt idx="2">
                  <c:v>3.6855960605703302E-3</c:v>
                </c:pt>
                <c:pt idx="3">
                  <c:v>2.8894963197748896E-2</c:v>
                </c:pt>
                <c:pt idx="4">
                  <c:v>5.1552504411673597E-2</c:v>
                </c:pt>
                <c:pt idx="5">
                  <c:v>1.09332563247311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586891112466138E-3</c:v>
                </c:pt>
                <c:pt idx="1">
                  <c:v>4.9937524365497463E-2</c:v>
                </c:pt>
                <c:pt idx="2">
                  <c:v>3.6831885564629794E-3</c:v>
                </c:pt>
                <c:pt idx="3">
                  <c:v>0.44236697687901727</c:v>
                </c:pt>
                <c:pt idx="4">
                  <c:v>0.48682638770879361</c:v>
                </c:pt>
                <c:pt idx="5">
                  <c:v>1.54272333789821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5.8727096432391369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329958816061737</c:v>
                </c:pt>
                <c:pt idx="4">
                  <c:v>0.225523795719669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5045832125471068</c:v>
                </c:pt>
                <c:pt idx="4">
                  <c:v>0.20298021271704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060841271903959E-2</c:v>
                </c:pt>
                <c:pt idx="3">
                  <c:v>9.780310678835254E-3</c:v>
                </c:pt>
                <c:pt idx="4">
                  <c:v>6.9522886074430976E-3</c:v>
                </c:pt>
                <c:pt idx="5">
                  <c:v>4.493247633422964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586891112466138E-3</c:v>
                </c:pt>
                <c:pt idx="1">
                  <c:v>1.58766830935935E-2</c:v>
                </c:pt>
                <c:pt idx="2">
                  <c:v>3.6831885564629794E-3</c:v>
                </c:pt>
                <c:pt idx="3">
                  <c:v>2.8828756784853908E-2</c:v>
                </c:pt>
                <c:pt idx="4">
                  <c:v>5.136421795499755E-2</c:v>
                </c:pt>
                <c:pt idx="5">
                  <c:v>1.09339857455592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1469999999999998</c:v>
                </c:pt>
                <c:pt idx="2">
                  <c:v>0.22209999999999999</c:v>
                </c:pt>
                <c:pt idx="3">
                  <c:v>0.16370000000000001</c:v>
                </c:pt>
                <c:pt idx="4">
                  <c:v>0.25140000000000001</c:v>
                </c:pt>
                <c:pt idx="5">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8.2098172766123009E-2</c:v>
                </c:pt>
                <c:pt idx="2">
                  <c:v>5.7943830949497767E-2</c:v>
                </c:pt>
                <c:pt idx="3">
                  <c:v>4.2701024220851792E-2</c:v>
                </c:pt>
                <c:pt idx="4">
                  <c:v>6.5590918261191081E-2</c:v>
                </c:pt>
                <c:pt idx="5">
                  <c:v>1.242883612809747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970710399685453E-2</c:v>
                </c:pt>
                <c:pt idx="2">
                  <c:v>2.6146841651990622E-2</c:v>
                </c:pt>
                <c:pt idx="3">
                  <c:v>9.485304119917308E-2</c:v>
                </c:pt>
                <c:pt idx="4">
                  <c:v>4.499118227000734E-2</c:v>
                </c:pt>
                <c:pt idx="5">
                  <c:v>7.759216733359268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1006066755415164E-2</c:v>
                </c:pt>
                <c:pt idx="3">
                  <c:v>2.6441561849660927E-2</c:v>
                </c:pt>
                <c:pt idx="4">
                  <c:v>8.8039606848534527E-2</c:v>
                </c:pt>
                <c:pt idx="5">
                  <c:v>3.8898859553271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7.9598219952994806E-3</c:v>
                </c:pt>
                <c:pt idx="2">
                  <c:v>7.1942690401433543E-2</c:v>
                </c:pt>
                <c:pt idx="3">
                  <c:v>3.8968008642345738E-3</c:v>
                </c:pt>
                <c:pt idx="4">
                  <c:v>6.7446694636725937E-2</c:v>
                </c:pt>
                <c:pt idx="5">
                  <c:v>9.748964456850599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2.5575248064246526E-3</c:v>
                </c:pt>
                <c:pt idx="4">
                  <c:v>6.6231296419880084E-2</c:v>
                </c:pt>
                <c:pt idx="5">
                  <c:v>4.12918481666221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2469999999999999</c:v>
                </c:pt>
                <c:pt idx="3">
                  <c:v>7.8299999999999995E-2</c:v>
                </c:pt>
                <c:pt idx="4">
                  <c:v>0.35499999999999998</c:v>
                </c:pt>
                <c:pt idx="5">
                  <c:v>0.241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239999999999997</c:v>
                </c:pt>
                <c:pt idx="2">
                  <c:v>0.27910000000000001</c:v>
                </c:pt>
                <c:pt idx="3">
                  <c:v>3.09E-2</c:v>
                </c:pt>
                <c:pt idx="4">
                  <c:v>0.3024</c:v>
                </c:pt>
                <c:pt idx="5">
                  <c:v>5.4100000000000002E-2</c:v>
                </c:pt>
                <c:pt idx="6">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2660402847081449E-2</c:v>
                </c:pt>
                <c:pt idx="2">
                  <c:v>7.7800554359570215E-2</c:v>
                </c:pt>
                <c:pt idx="3">
                  <c:v>8.6251124281583498E-3</c:v>
                </c:pt>
                <c:pt idx="4">
                  <c:v>8.4284223346426851E-2</c:v>
                </c:pt>
                <c:pt idx="5">
                  <c:v>1.5077396017676884E-2</c:v>
                </c:pt>
                <c:pt idx="6">
                  <c:v>3.03847035099253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6790219135821485E-2</c:v>
                </c:pt>
                <c:pt idx="2">
                  <c:v>5.4005130251259748E-2</c:v>
                </c:pt>
                <c:pt idx="3">
                  <c:v>8.0793952137310415E-2</c:v>
                </c:pt>
                <c:pt idx="4">
                  <c:v>9.5701064800259653E-3</c:v>
                </c:pt>
                <c:pt idx="5">
                  <c:v>9.4055171558825854E-2</c:v>
                </c:pt>
                <c:pt idx="6">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8311404423753145E-2</c:v>
                </c:pt>
                <c:pt idx="3">
                  <c:v>1.8882348219866989E-2</c:v>
                </c:pt>
                <c:pt idx="4">
                  <c:v>7.9747482769148073E-2</c:v>
                </c:pt>
                <c:pt idx="5">
                  <c:v>5.15153874663759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4.876471996844424E-2</c:v>
                </c:pt>
                <c:pt idx="5">
                  <c:v>4.69606592107808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7385153119181269E-2</c:v>
                </c:pt>
                <c:pt idx="2">
                  <c:v>2.5272605332432765E-2</c:v>
                </c:pt>
                <c:pt idx="3">
                  <c:v>8.9757687778646202E-3</c:v>
                </c:pt>
                <c:pt idx="4">
                  <c:v>4.6884077187236556E-2</c:v>
                </c:pt>
                <c:pt idx="5">
                  <c:v>2.27602435589535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9509999999999997</c:v>
                </c:pt>
                <c:pt idx="2">
                  <c:v>0.2591</c:v>
                </c:pt>
                <c:pt idx="3">
                  <c:v>9.8100000000000007E-2</c:v>
                </c:pt>
                <c:pt idx="4">
                  <c:v>0.32700000000000001</c:v>
                </c:pt>
                <c:pt idx="5">
                  <c:v>2.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8.5517319788469048E-2</c:v>
                </c:pt>
                <c:pt idx="2">
                  <c:v>7.5099891325612428E-2</c:v>
                </c:pt>
                <c:pt idx="3">
                  <c:v>2.8439093690432658E-2</c:v>
                </c:pt>
                <c:pt idx="4">
                  <c:v>9.4755564569076856E-2</c:v>
                </c:pt>
                <c:pt idx="5">
                  <c:v>5.982980832951794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9.6280795771019693E-6</c:v>
                </c:pt>
                <c:pt idx="3">
                  <c:v>0.14542215544022347</c:v>
                </c:pt>
                <c:pt idx="4">
                  <c:v>1.1530188638661246E-2</c:v>
                </c:pt>
                <c:pt idx="5">
                  <c:v>8.4001767879292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9352859898126727E-2</c:v>
                </c:pt>
                <c:pt idx="3">
                  <c:v>4.056330411108755E-2</c:v>
                </c:pt>
                <c:pt idx="4">
                  <c:v>9.1037794309395265E-2</c:v>
                </c:pt>
                <c:pt idx="5">
                  <c:v>4.32396029543864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4.3670613155029493E-2</c:v>
                </c:pt>
                <c:pt idx="4">
                  <c:v>7.1197190239585539E-2</c:v>
                </c:pt>
                <c:pt idx="5">
                  <c:v>1.0948253169328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6.5936725080430317E-2</c:v>
                </c:pt>
                <c:pt idx="5">
                  <c:v>4.28637493585548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9056946025795E-2</c:v>
                </c:pt>
                <c:pt idx="2">
                  <c:v>4.2170352249504398E-2</c:v>
                </c:pt>
                <c:pt idx="3">
                  <c:v>0.31160187823845797</c:v>
                </c:pt>
                <c:pt idx="4">
                  <c:v>0.55257620984660882</c:v>
                </c:pt>
                <c:pt idx="5">
                  <c:v>5.80848846280230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142165672211526E-2</c:v>
                </c:pt>
                <c:pt idx="2">
                  <c:v>4.2150313744790897E-2</c:v>
                </c:pt>
                <c:pt idx="3">
                  <c:v>8.9582810519761788E-2</c:v>
                </c:pt>
                <c:pt idx="4">
                  <c:v>0.148249200881655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1261080436234465E-2</c:v>
                </c:pt>
                <c:pt idx="4">
                  <c:v>0.10590136309839777</c:v>
                </c:pt>
                <c:pt idx="5">
                  <c:v>5.186619618637958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5767899962245556E-2</c:v>
                </c:pt>
                <c:pt idx="3">
                  <c:v>4.8099294899263859E-2</c:v>
                </c:pt>
                <c:pt idx="4">
                  <c:v>8.75025024527570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6389913115687134E-3</c:v>
                </c:pt>
                <c:pt idx="2">
                  <c:v>2.00385047135032E-5</c:v>
                </c:pt>
                <c:pt idx="3">
                  <c:v>9.2658692383197849E-2</c:v>
                </c:pt>
                <c:pt idx="4">
                  <c:v>0.21092314341379867</c:v>
                </c:pt>
                <c:pt idx="5">
                  <c:v>5.28982650093850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17E-3</c:v>
                </c:pt>
                <c:pt idx="1">
                  <c:v>3.3746952717115544E-2</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58E-2</c:v>
                </c:pt>
                <c:pt idx="2">
                  <c:v>4.8559042899347739E-2</c:v>
                </c:pt>
                <c:pt idx="3">
                  <c:v>0.24618674300182219</c:v>
                </c:pt>
                <c:pt idx="4">
                  <c:v>0.60115421813792924</c:v>
                </c:pt>
                <c:pt idx="5">
                  <c:v>5.6894186185215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7737478640480985E-2</c:v>
                </c:pt>
                <c:pt idx="2">
                  <c:v>4.8556042232930072E-2</c:v>
                </c:pt>
                <c:pt idx="3">
                  <c:v>4.9426808655054784E-2</c:v>
                </c:pt>
                <c:pt idx="4">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8031779956883459E-2</c:v>
                </c:pt>
                <c:pt idx="3">
                  <c:v>3.9118744057247593E-2</c:v>
                </c:pt>
                <c:pt idx="4">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5.5054676525125794E-2</c:v>
                </c:pt>
                <c:pt idx="4">
                  <c:v>7.4612851658717824E-2</c:v>
                </c:pt>
                <c:pt idx="5">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35067702788914E-2</c:v>
                </c:pt>
                <c:pt idx="2">
                  <c:v>3.0006664176675462E-6</c:v>
                </c:pt>
                <c:pt idx="3">
                  <c:v>0.10258651376439401</c:v>
                </c:pt>
                <c:pt idx="4">
                  <c:v>0.24189248591996285</c:v>
                </c:pt>
                <c:pt idx="5">
                  <c:v>5.689371417027291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9388935039661E-2</c:v>
                </c:pt>
                <c:pt idx="2">
                  <c:v>7.2610312083333933E-2</c:v>
                </c:pt>
                <c:pt idx="3">
                  <c:v>0.29727869587744465</c:v>
                </c:pt>
                <c:pt idx="4">
                  <c:v>0.5592381183173375</c:v>
                </c:pt>
                <c:pt idx="5">
                  <c:v>5.042558302015595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4812217343241065E-3</c:v>
                </c:pt>
                <c:pt idx="2">
                  <c:v>7.2610312083333933E-2</c:v>
                </c:pt>
                <c:pt idx="3">
                  <c:v>9.9094763914147468E-2</c:v>
                </c:pt>
                <c:pt idx="4">
                  <c:v>0.1538200308417653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3.7471466431785415E-2</c:v>
                </c:pt>
                <c:pt idx="4">
                  <c:v>0.1054517831320965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817545383922388E-2</c:v>
                </c:pt>
                <c:pt idx="3">
                  <c:v>5.1980261985186738E-2</c:v>
                </c:pt>
                <c:pt idx="4">
                  <c:v>7.98601049294635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0621816793167543E-5</c:v>
                </c:pt>
                <c:pt idx="3">
                  <c:v>0.10873220354632504</c:v>
                </c:pt>
                <c:pt idx="4">
                  <c:v>0.22010619941401191</c:v>
                </c:pt>
                <c:pt idx="5">
                  <c:v>5.042558302015595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88612710984894E-3</c:v>
                </c:pt>
                <c:pt idx="1">
                  <c:v>9.185168059964095E-3</c:v>
                </c:pt>
                <c:pt idx="2">
                  <c:v>9.6053077373854767E-2</c:v>
                </c:pt>
                <c:pt idx="3">
                  <c:v>0.127049310736117</c:v>
                </c:pt>
                <c:pt idx="4">
                  <c:v>0.3821431582164922</c:v>
                </c:pt>
                <c:pt idx="5">
                  <c:v>0.3825504243424734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524259776242277E-3</c:v>
                </c:pt>
                <c:pt idx="1">
                  <c:v>7.0945211912657865E-3</c:v>
                </c:pt>
                <c:pt idx="2">
                  <c:v>5.9694618653955998E-2</c:v>
                </c:pt>
                <c:pt idx="3">
                  <c:v>4.4831422700257521E-2</c:v>
                </c:pt>
                <c:pt idx="4">
                  <c:v>0.22050351280158359</c:v>
                </c:pt>
                <c:pt idx="5">
                  <c:v>0.2320968943150542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5385764307538406E-2</c:v>
                </c:pt>
                <c:pt idx="3">
                  <c:v>1.8265798993763481E-2</c:v>
                </c:pt>
                <c:pt idx="4">
                  <c:v>3.9625612627645274E-2</c:v>
                </c:pt>
                <c:pt idx="5">
                  <c:v>4.6638767350208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8.0465357918409353E-3</c:v>
                </c:pt>
                <c:pt idx="3">
                  <c:v>1.140624553148443E-2</c:v>
                </c:pt>
                <c:pt idx="4">
                  <c:v>2.484489318086661E-2</c:v>
                </c:pt>
                <c:pt idx="5">
                  <c:v>4.47816022274725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64352934742619E-3</c:v>
                </c:pt>
                <c:pt idx="1">
                  <c:v>2.0906468686983089E-3</c:v>
                </c:pt>
                <c:pt idx="3">
                  <c:v>5.2545843510611583E-2</c:v>
                </c:pt>
                <c:pt idx="4">
                  <c:v>9.7169139606396726E-2</c:v>
                </c:pt>
                <c:pt idx="5">
                  <c:v>5.90331604497378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4</c:v>
                </c:pt>
                <c:pt idx="4">
                  <c:v>0.431716533043907</c:v>
                </c:pt>
                <c:pt idx="5">
                  <c:v>0.34687347885839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8.5349158368287267E-3</c:v>
                </c:pt>
                <c:pt idx="3">
                  <c:v>2.0579282678446667E-3</c:v>
                </c:pt>
                <c:pt idx="4">
                  <c:v>9.3310180115548213E-3</c:v>
                </c:pt>
                <c:pt idx="5">
                  <c:v>6.357870587301926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6729726484407787E-6</c:v>
                </c:pt>
                <c:pt idx="1">
                  <c:v>9.7136516272242276E-3</c:v>
                </c:pt>
                <c:pt idx="2">
                  <c:v>4.2992807337090502E-2</c:v>
                </c:pt>
                <c:pt idx="3">
                  <c:v>5.7954929570050925E-2</c:v>
                </c:pt>
                <c:pt idx="4">
                  <c:v>0.15777279699652327</c:v>
                </c:pt>
                <c:pt idx="5">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1822314328258191E-6</c:v>
                </c:pt>
                <c:pt idx="1">
                  <c:v>4.5743156296532397E-6</c:v>
                </c:pt>
                <c:pt idx="2">
                  <c:v>5.5932523229095844E-3</c:v>
                </c:pt>
                <c:pt idx="3">
                  <c:v>7.7629831741438445E-3</c:v>
                </c:pt>
                <c:pt idx="4">
                  <c:v>2.4335210428163334E-2</c:v>
                </c:pt>
                <c:pt idx="5">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3709601785048481E-3</c:v>
                </c:pt>
                <c:pt idx="2">
                  <c:v>6.4904626465531858E-3</c:v>
                </c:pt>
                <c:pt idx="3">
                  <c:v>6.6068575724320573E-3</c:v>
                </c:pt>
                <c:pt idx="4">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79955038848874E-3</c:v>
                </c:pt>
                <c:pt idx="1">
                  <c:v>2.1657766595756814E-2</c:v>
                </c:pt>
                <c:pt idx="2">
                  <c:v>5.5620789252328599E-2</c:v>
                </c:pt>
                <c:pt idx="3">
                  <c:v>0.15116990533320857</c:v>
                </c:pt>
                <c:pt idx="4">
                  <c:v>0.20915011306716758</c:v>
                </c:pt>
                <c:pt idx="5">
                  <c:v>0.1021961780569890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379025521232942E-3</c:v>
                </c:pt>
                <c:pt idx="2">
                  <c:v>5.4935686849600637E-2</c:v>
                </c:pt>
                <c:pt idx="3">
                  <c:v>3.0131992612146163E-2</c:v>
                </c:pt>
                <c:pt idx="4">
                  <c:v>0.25750047951529925</c:v>
                </c:pt>
                <c:pt idx="5">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6.7867160776327196E-6</c:v>
                </c:pt>
                <c:pt idx="3">
                  <c:v>2.6903631912361108E-2</c:v>
                </c:pt>
                <c:pt idx="4">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015872551181919E-2</c:v>
                </c:pt>
                <c:pt idx="3">
                  <c:v>1.4920294777882427E-2</c:v>
                </c:pt>
                <c:pt idx="4">
                  <c:v>2.7240050179626343E-2</c:v>
                </c:pt>
                <c:pt idx="5">
                  <c:v>4.620981065137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0151149182612673E-3</c:v>
                </c:pt>
                <c:pt idx="2">
                  <c:v>1.1416258171888585E-2</c:v>
                </c:pt>
                <c:pt idx="3">
                  <c:v>5.7786057515740862E-2</c:v>
                </c:pt>
                <c:pt idx="4">
                  <c:v>9.8976628327898164E-2</c:v>
                </c:pt>
                <c:pt idx="5">
                  <c:v>0.121136258050679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1585917127786388E-4</c:v>
                </c:pt>
                <c:pt idx="2">
                  <c:v>8.4537935788821073E-2</c:v>
                </c:pt>
                <c:pt idx="3">
                  <c:v>0.13253867325736088</c:v>
                </c:pt>
                <c:pt idx="4">
                  <c:v>0.37859105977403795</c:v>
                </c:pt>
                <c:pt idx="5">
                  <c:v>0.403348105724409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3.2220950000204293E-2</c:v>
                </c:pt>
                <c:pt idx="3">
                  <c:v>4.4378948332113803E-2</c:v>
                </c:pt>
                <c:pt idx="4">
                  <c:v>0.20098436646965284</c:v>
                </c:pt>
                <c:pt idx="5">
                  <c:v>0.244350326048523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4.1318992638801351E-2</c:v>
                </c:pt>
                <c:pt idx="3">
                  <c:v>3.0843041594187433E-2</c:v>
                </c:pt>
                <c:pt idx="4">
                  <c:v>7.1689419441668054E-2</c:v>
                </c:pt>
                <c:pt idx="5">
                  <c:v>6.59040915583318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4.02186473454441E-2</c:v>
                </c:pt>
                <c:pt idx="4">
                  <c:v>5.50231221842114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5.1585917127786388E-4</c:v>
                </c:pt>
                <c:pt idx="2">
                  <c:v>1.0997993149815418E-2</c:v>
                </c:pt>
                <c:pt idx="3">
                  <c:v>1.7098035985615531E-2</c:v>
                </c:pt>
                <c:pt idx="4">
                  <c:v>5.089415167850566E-2</c:v>
                </c:pt>
                <c:pt idx="5">
                  <c:v>9.30936881175544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819792720813648E-2</c:v>
                </c:pt>
                <c:pt idx="1">
                  <c:v>6.6370813398914985E-2</c:v>
                </c:pt>
                <c:pt idx="2">
                  <c:v>0.2125129507988319</c:v>
                </c:pt>
                <c:pt idx="3">
                  <c:v>0.48743383700972776</c:v>
                </c:pt>
                <c:pt idx="4">
                  <c:v>0.20735317089297553</c:v>
                </c:pt>
                <c:pt idx="5">
                  <c:v>9.50943517873611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0266035421996767E-6</c:v>
                </c:pt>
                <c:pt idx="1">
                  <c:v>5.296827957095844E-2</c:v>
                </c:pt>
                <c:pt idx="2">
                  <c:v>8.3867900401204343E-2</c:v>
                </c:pt>
                <c:pt idx="3">
                  <c:v>0.15016907970240934</c:v>
                </c:pt>
                <c:pt idx="4">
                  <c:v>7.52532883728185E-2</c:v>
                </c:pt>
                <c:pt idx="5">
                  <c:v>1.8086524642538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738916323677808E-2</c:v>
                </c:pt>
                <c:pt idx="4">
                  <c:v>6.7853973068256107E-2</c:v>
                </c:pt>
                <c:pt idx="5">
                  <c:v>2.398302897874519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8600717668277242E-4</c:v>
                </c:pt>
                <c:pt idx="2">
                  <c:v>7.5237268071817409E-2</c:v>
                </c:pt>
                <c:pt idx="3">
                  <c:v>3.6041600401656611E-2</c:v>
                </c:pt>
                <c:pt idx="4">
                  <c:v>1.7551487796707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6817766117271447E-2</c:v>
                </c:pt>
                <c:pt idx="1">
                  <c:v>1.301652665127378E-2</c:v>
                </c:pt>
                <c:pt idx="2">
                  <c:v>5.3407782325810144E-2</c:v>
                </c:pt>
                <c:pt idx="3">
                  <c:v>0.21248424058198406</c:v>
                </c:pt>
                <c:pt idx="4">
                  <c:v>4.6694421655193788E-2</c:v>
                </c:pt>
                <c:pt idx="5">
                  <c:v>5.30247981660778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7E-2</c:v>
                </c:pt>
                <c:pt idx="1">
                  <c:v>4.5885342498018893E-2</c:v>
                </c:pt>
                <c:pt idx="2">
                  <c:v>0.19124469261645943</c:v>
                </c:pt>
                <c:pt idx="3">
                  <c:v>0.50343710515048379</c:v>
                </c:pt>
                <c:pt idx="4">
                  <c:v>0.2325703370616464</c:v>
                </c:pt>
                <c:pt idx="5">
                  <c:v>1.17315861923018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2843822305474016E-2</c:v>
                </c:pt>
                <c:pt idx="2">
                  <c:v>6.3974896538575313E-2</c:v>
                </c:pt>
                <c:pt idx="3">
                  <c:v>0.14093418959066523</c:v>
                </c:pt>
                <c:pt idx="4">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921297738606626E-2</c:v>
                </c:pt>
                <c:pt idx="4">
                  <c:v>8.2993007242709221E-2</c:v>
                </c:pt>
                <c:pt idx="5">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3154878141065264E-4</c:v>
                </c:pt>
                <c:pt idx="2">
                  <c:v>7.4036116742946231E-2</c:v>
                </c:pt>
                <c:pt idx="3">
                  <c:v>4.9380779319311785E-2</c:v>
                </c:pt>
                <c:pt idx="4">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30936481089645E-2</c:v>
                </c:pt>
                <c:pt idx="1">
                  <c:v>1.2209971411134227E-2</c:v>
                </c:pt>
                <c:pt idx="2">
                  <c:v>5.3233679334937875E-2</c:v>
                </c:pt>
                <c:pt idx="3">
                  <c:v>0.22920083850190018</c:v>
                </c:pt>
                <c:pt idx="4">
                  <c:v>6.3911261988601795E-2</c:v>
                </c:pt>
                <c:pt idx="5">
                  <c:v>8.12796244627917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410000000000001</c:v>
                </c:pt>
                <c:pt idx="3">
                  <c:v>0.16689999999999999</c:v>
                </c:pt>
                <c:pt idx="4">
                  <c:v>0.37459999999999999</c:v>
                </c:pt>
                <c:pt idx="5">
                  <c:v>0.214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48095006001869E-2</c:v>
                </c:pt>
                <c:pt idx="1">
                  <c:v>6.8189233962195048E-2</c:v>
                </c:pt>
                <c:pt idx="2">
                  <c:v>0.22875689942069607</c:v>
                </c:pt>
                <c:pt idx="3">
                  <c:v>0.46899938383941098</c:v>
                </c:pt>
                <c:pt idx="4">
                  <c:v>0.19053599834963247</c:v>
                </c:pt>
                <c:pt idx="5">
                  <c:v>1.397038942206357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818298469513979</c:v>
                </c:pt>
                <c:pt idx="4">
                  <c:v>6.9620083328755467E-2</c:v>
                </c:pt>
                <c:pt idx="5">
                  <c:v>3.2833489370207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5873497731134245E-2</c:v>
                </c:pt>
                <c:pt idx="2">
                  <c:v>7.0791942653234644E-2</c:v>
                </c:pt>
                <c:pt idx="3">
                  <c:v>9.3145466690510506E-2</c:v>
                </c:pt>
                <c:pt idx="4">
                  <c:v>5.8137128165688175E-2</c:v>
                </c:pt>
                <c:pt idx="5">
                  <c:v>3.887310013905008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2013889619398598E-2</c:v>
                </c:pt>
                <c:pt idx="2">
                  <c:v>5.0210537768131155E-2</c:v>
                </c:pt>
                <c:pt idx="3">
                  <c:v>8.7825237532536904E-2</c:v>
                </c:pt>
                <c:pt idx="4">
                  <c:v>2.3993274830219805E-2</c:v>
                </c:pt>
                <c:pt idx="5">
                  <c:v>6.752198639420797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9548095006001869E-2</c:v>
                </c:pt>
                <c:pt idx="1">
                  <c:v>3.0184661166220763E-4</c:v>
                </c:pt>
                <c:pt idx="2">
                  <c:v>0.10775441899933028</c:v>
                </c:pt>
                <c:pt idx="3">
                  <c:v>0.17984569492122379</c:v>
                </c:pt>
                <c:pt idx="4">
                  <c:v>3.8785512024969014E-2</c:v>
                </c:pt>
                <c:pt idx="5">
                  <c:v>4.753183171705625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87568750277387E-3</c:v>
                </c:pt>
                <c:pt idx="2">
                  <c:v>7.1716732875305694E-2</c:v>
                </c:pt>
                <c:pt idx="3">
                  <c:v>0.18235048082072933</c:v>
                </c:pt>
                <c:pt idx="4">
                  <c:v>0.58286701673784502</c:v>
                </c:pt>
                <c:pt idx="5">
                  <c:v>0.15702225463134503</c:v>
                </c:pt>
                <c:pt idx="6">
                  <c:v>3.851930377276612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8.7705305207334234E-5</c:v>
                </c:pt>
                <c:pt idx="2">
                  <c:v>2.31878680470529E-2</c:v>
                </c:pt>
                <c:pt idx="3">
                  <c:v>9.0902835888482386E-2</c:v>
                </c:pt>
                <c:pt idx="4">
                  <c:v>0.24153246803757059</c:v>
                </c:pt>
                <c:pt idx="5">
                  <c:v>7.5124136386244891E-2</c:v>
                </c:pt>
                <c:pt idx="6">
                  <c:v>3.70806129079390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4538713780861858E-4</c:v>
                </c:pt>
                <c:pt idx="2">
                  <c:v>3.5548688278670505E-2</c:v>
                </c:pt>
                <c:pt idx="3">
                  <c:v>4.8573057731941406E-2</c:v>
                </c:pt>
                <c:pt idx="4">
                  <c:v>0.14913991355585904</c:v>
                </c:pt>
                <c:pt idx="5">
                  <c:v>8.15029998100306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3956110292314673E-3</c:v>
                </c:pt>
                <c:pt idx="3">
                  <c:v>2.414488755483972E-2</c:v>
                </c:pt>
                <c:pt idx="4">
                  <c:v>5.3057343508777971E-2</c:v>
                </c:pt>
                <c:pt idx="5">
                  <c:v>6.371884551167715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0584565520350827E-2</c:v>
                </c:pt>
                <c:pt idx="3">
                  <c:v>1.8729699645465822E-2</c:v>
                </c:pt>
                <c:pt idx="4">
                  <c:v>0.13913729163563737</c:v>
                </c:pt>
                <c:pt idx="5">
                  <c:v>7.311062980898031E-2</c:v>
                </c:pt>
                <c:pt idx="6">
                  <c:v>1.438690864827110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4993</c:v>
                </c:pt>
                <c:pt idx="5">
                  <c:v>0.1937222447665026</c:v>
                </c:pt>
                <c:pt idx="6">
                  <c:v>7.295793532500751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007935502443258E-2</c:v>
                </c:pt>
                <c:pt idx="3">
                  <c:v>5.2165348389913241E-2</c:v>
                </c:pt>
                <c:pt idx="4">
                  <c:v>0.20214649925508837</c:v>
                </c:pt>
                <c:pt idx="5">
                  <c:v>0.10372441251558287</c:v>
                </c:pt>
                <c:pt idx="6">
                  <c:v>4.525976182421893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0785858632611054E-5</c:v>
                </c:pt>
                <c:pt idx="2">
                  <c:v>3.7643461722091778E-2</c:v>
                </c:pt>
                <c:pt idx="3">
                  <c:v>5.2246089232947733E-2</c:v>
                </c:pt>
                <c:pt idx="4">
                  <c:v>0.16377976700594907</c:v>
                </c:pt>
                <c:pt idx="5">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havro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3.033674906731739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1526013155783148E-2</c:v>
                </c:pt>
                <c:pt idx="3">
                  <c:v>3.9833473679440595E-2</c:v>
                </c:pt>
                <c:pt idx="4">
                  <c:v>0.17060849508319506</c:v>
                </c:pt>
                <c:pt idx="5">
                  <c:v>8.3046112393619323E-2</c:v>
                </c:pt>
                <c:pt idx="6">
                  <c:v>2.769817350078858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129731068865128E-3</c:v>
                </c:pt>
                <c:pt idx="1">
                  <c:v>2.9687248740982775E-2</c:v>
                </c:pt>
                <c:pt idx="2">
                  <c:v>0.12761672668444915</c:v>
                </c:pt>
                <c:pt idx="3">
                  <c:v>0.2547365973255013</c:v>
                </c:pt>
                <c:pt idx="4">
                  <c:v>0.39683477834621461</c:v>
                </c:pt>
                <c:pt idx="5">
                  <c:v>0.17961729434078061</c:v>
                </c:pt>
                <c:pt idx="6">
                  <c:v>4.294381455185055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896460218759088E-3</c:v>
                </c:pt>
                <c:pt idx="2">
                  <c:v>0.10153314288048981</c:v>
                </c:pt>
                <c:pt idx="3">
                  <c:v>0.20586609235711967</c:v>
                </c:pt>
                <c:pt idx="4">
                  <c:v>0.55518641870889496</c:v>
                </c:pt>
                <c:pt idx="5">
                  <c:v>0.10484566547132006</c:v>
                </c:pt>
                <c:pt idx="6">
                  <c:v>2.89790345602996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257619061526832E-2</c:v>
                </c:pt>
                <c:pt idx="3">
                  <c:v>7.7121552645744121E-2</c:v>
                </c:pt>
                <c:pt idx="4">
                  <c:v>0.20055224165036376</c:v>
                </c:pt>
                <c:pt idx="5">
                  <c:v>3.469095546079983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422706756053669E-2</c:v>
                </c:pt>
                <c:pt idx="3">
                  <c:v>9.48310595249479E-2</c:v>
                </c:pt>
                <c:pt idx="4">
                  <c:v>0.18865178559150755</c:v>
                </c:pt>
                <c:pt idx="5">
                  <c:v>6.0601342390179884E-2</c:v>
                </c:pt>
                <c:pt idx="6">
                  <c:v>2.897903456029966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985552925047129E-2</c:v>
                </c:pt>
                <c:pt idx="4">
                  <c:v>7.0120074535225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5896460218759088E-3</c:v>
                </c:pt>
                <c:pt idx="2">
                  <c:v>1.0484562584262978E-3</c:v>
                </c:pt>
                <c:pt idx="3">
                  <c:v>6.9279272613804975E-3</c:v>
                </c:pt>
                <c:pt idx="4">
                  <c:v>9.5862316931797795E-2</c:v>
                </c:pt>
                <c:pt idx="5">
                  <c:v>4.07752275350601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7E-2</c:v>
                </c:pt>
                <c:pt idx="4">
                  <c:v>0.88843076945420352</c:v>
                </c:pt>
                <c:pt idx="5">
                  <c:v>7.0245061760014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993966973793626E-5</c:v>
                </c:pt>
                <c:pt idx="4">
                  <c:v>0.32425813305511542</c:v>
                </c:pt>
                <c:pt idx="5">
                  <c:v>1.2128953678173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9.3137540633138035E-4</c:v>
                </c:pt>
                <c:pt idx="4">
                  <c:v>0.16433112599937943</c:v>
                </c:pt>
                <c:pt idx="5">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5.185674526282818E-4</c:v>
                </c:pt>
                <c:pt idx="1">
                  <c:v>1.5620317363869789E-3</c:v>
                </c:pt>
                <c:pt idx="2">
                  <c:v>5.554790142341344E-3</c:v>
                </c:pt>
                <c:pt idx="3">
                  <c:v>3.2737410081120064E-2</c:v>
                </c:pt>
                <c:pt idx="4">
                  <c:v>0.21684337898925027</c:v>
                </c:pt>
                <c:pt idx="5">
                  <c:v>4.10527905493841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784618550905057E-4</c:v>
                </c:pt>
                <c:pt idx="4">
                  <c:v>0.20313096092644092</c:v>
                </c:pt>
                <c:pt idx="5">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7623447649261598</c:v>
                </c:pt>
                <c:pt idx="5">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1172031082152861E-3</c:v>
                </c:pt>
                <c:pt idx="1">
                  <c:v>2.2320532191512647E-3</c:v>
                </c:pt>
                <c:pt idx="2">
                  <c:v>5.5221708815645486E-3</c:v>
                </c:pt>
                <c:pt idx="3">
                  <c:v>3.2054568203037939E-2</c:v>
                </c:pt>
                <c:pt idx="4">
                  <c:v>0.30120106393124985</c:v>
                </c:pt>
                <c:pt idx="5">
                  <c:v>7.49119037818627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13</c:v>
                </c:pt>
                <c:pt idx="5">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7284193029580148E-3</c:v>
                </c:pt>
                <c:pt idx="3">
                  <c:v>4.5983785590323631E-3</c:v>
                </c:pt>
                <c:pt idx="4">
                  <c:v>1.0324609479951303E-2</c:v>
                </c:pt>
                <c:pt idx="5">
                  <c:v>5.908285486872186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32153719448863E-2</c:v>
                </c:pt>
                <c:pt idx="2">
                  <c:v>4.0120650889835088E-2</c:v>
                </c:pt>
                <c:pt idx="3">
                  <c:v>5.5950724439345609E-2</c:v>
                </c:pt>
                <c:pt idx="4">
                  <c:v>0.13806127574211677</c:v>
                </c:pt>
                <c:pt idx="5">
                  <c:v>9.0238308254085103E-2</c:v>
                </c:pt>
                <c:pt idx="6">
                  <c:v>4.247152234761888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7768328824428072E-3</c:v>
                </c:pt>
                <c:pt idx="3">
                  <c:v>1.1298460329736477E-2</c:v>
                </c:pt>
                <c:pt idx="4">
                  <c:v>2.9381300928092789E-2</c:v>
                </c:pt>
                <c:pt idx="5">
                  <c:v>5.082293737976651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5793331596350784E-2</c:v>
                </c:pt>
                <c:pt idx="4">
                  <c:v>1.6599041892997782E-2</c:v>
                </c:pt>
                <c:pt idx="5">
                  <c:v>7.828265056446146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2129731068865128E-3</c:v>
                </c:pt>
                <c:pt idx="1">
                  <c:v>1.6365711546494147E-2</c:v>
                </c:pt>
                <c:pt idx="2">
                  <c:v>7.3990823609213247E-2</c:v>
                </c:pt>
                <c:pt idx="3">
                  <c:v>0.15709570240103604</c:v>
                </c:pt>
                <c:pt idx="4">
                  <c:v>0.20246855030305599</c:v>
                </c:pt>
                <c:pt idx="5">
                  <c:v>8.2179644720381015E-2</c:v>
                </c:pt>
                <c:pt idx="6">
                  <c:v>4.722922042316661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279747884294907</c:v>
                </c:pt>
                <c:pt idx="5">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5900475742707917</c:v>
                </c:pt>
                <c:pt idx="5">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7239854391077266E-2</c:v>
                </c:pt>
                <c:pt idx="4">
                  <c:v>0.17733099961828863</c:v>
                </c:pt>
                <c:pt idx="5">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993279684305E-3</c:v>
                </c:pt>
                <c:pt idx="1">
                  <c:v>0.10379758187685387</c:v>
                </c:pt>
                <c:pt idx="2">
                  <c:v>1.3305784201201484E-2</c:v>
                </c:pt>
                <c:pt idx="3">
                  <c:v>0.39967783872269125</c:v>
                </c:pt>
                <c:pt idx="4">
                  <c:v>0.46495170435034044</c:v>
                </c:pt>
                <c:pt idx="5">
                  <c:v>1.67984915209445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0904850122340795E-2</c:v>
                </c:pt>
                <c:pt idx="2">
                  <c:v>6.9463893749893866E-3</c:v>
                </c:pt>
                <c:pt idx="3">
                  <c:v>0.15309090685846943</c:v>
                </c:pt>
                <c:pt idx="4">
                  <c:v>0.21751476129732042</c:v>
                </c:pt>
                <c:pt idx="5">
                  <c:v>9.32366344482651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534258240478993E-2</c:v>
                </c:pt>
                <c:pt idx="3">
                  <c:v>8.97559542339557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9213030948686226E-3</c:v>
                </c:pt>
                <c:pt idx="3">
                  <c:v>6.2283819511418766E-2</c:v>
                </c:pt>
                <c:pt idx="4">
                  <c:v>8.5791676675791347E-3</c:v>
                </c:pt>
                <c:pt idx="5">
                  <c:v>2.752232544909301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4685993279684305E-3</c:v>
                </c:pt>
                <c:pt idx="1">
                  <c:v>2.3628846254854508E-2</c:v>
                </c:pt>
                <c:pt idx="2">
                  <c:v>6.3593948262120961E-3</c:v>
                </c:pt>
                <c:pt idx="3">
                  <c:v>9.4547158118847258E-2</c:v>
                </c:pt>
                <c:pt idx="4">
                  <c:v>0.2388577753854409</c:v>
                </c:pt>
                <c:pt idx="5">
                  <c:v>7.199604821627076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896170947494E-3</c:v>
                </c:pt>
                <c:pt idx="1">
                  <c:v>0.10381350294445126</c:v>
                </c:pt>
                <c:pt idx="2">
                  <c:v>1.3298932772208446E-2</c:v>
                </c:pt>
                <c:pt idx="3">
                  <c:v>0.39976047211771548</c:v>
                </c:pt>
                <c:pt idx="4">
                  <c:v>0.46489119167635218</c:v>
                </c:pt>
                <c:pt idx="5">
                  <c:v>1.67673108721777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0912778992076007E-2</c:v>
                </c:pt>
                <c:pt idx="2">
                  <c:v>6.9453748943536595E-3</c:v>
                </c:pt>
                <c:pt idx="3">
                  <c:v>0.1531302469668929</c:v>
                </c:pt>
                <c:pt idx="4">
                  <c:v>0.21757042954675185</c:v>
                </c:pt>
                <c:pt idx="5">
                  <c:v>9.32600193669245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5354406998810798E-2</c:v>
                </c:pt>
                <c:pt idx="3">
                  <c:v>8.977932371618711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9222241833742153E-3</c:v>
                </c:pt>
                <c:pt idx="3">
                  <c:v>6.2324077633608164E-2</c:v>
                </c:pt>
                <c:pt idx="4">
                  <c:v>8.5813108280069494E-3</c:v>
                </c:pt>
                <c:pt idx="5">
                  <c:v>2.695137566034012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4685896170947494E-3</c:v>
                </c:pt>
                <c:pt idx="1">
                  <c:v>2.3624092770190234E-2</c:v>
                </c:pt>
                <c:pt idx="2">
                  <c:v>6.3535578778547855E-3</c:v>
                </c:pt>
                <c:pt idx="3">
                  <c:v>9.4526823801027379E-2</c:v>
                </c:pt>
                <c:pt idx="4">
                  <c:v>0.23873945130159344</c:v>
                </c:pt>
                <c:pt idx="5">
                  <c:v>7.171795178881899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590000000000001</c:v>
                </c:pt>
                <c:pt idx="4">
                  <c:v>0.41220000000000001</c:v>
                </c:pt>
                <c:pt idx="5">
                  <c:v>0.4618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318959519803473E-3</c:v>
                </c:pt>
                <c:pt idx="1">
                  <c:v>4.329334864300062E-2</c:v>
                </c:pt>
                <c:pt idx="2">
                  <c:v>0.11709217419730092</c:v>
                </c:pt>
                <c:pt idx="3">
                  <c:v>0.24465734611122858</c:v>
                </c:pt>
                <c:pt idx="4">
                  <c:v>0.39320893464598827</c:v>
                </c:pt>
                <c:pt idx="5">
                  <c:v>0.19339064677164633</c:v>
                </c:pt>
                <c:pt idx="6">
                  <c:v>1.125653678854936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1340306491206915E-3</c:v>
                </c:pt>
                <c:pt idx="4">
                  <c:v>6.9850614376141835E-3</c:v>
                </c:pt>
                <c:pt idx="5">
                  <c:v>7.828485893552655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094551065857661E-3</c:v>
                </c:pt>
                <c:pt idx="1">
                  <c:v>2.2373605200913908E-2</c:v>
                </c:pt>
                <c:pt idx="2">
                  <c:v>5.1870221414047561E-2</c:v>
                </c:pt>
                <c:pt idx="3">
                  <c:v>7.3242794636750902E-2</c:v>
                </c:pt>
                <c:pt idx="4">
                  <c:v>0.16397549254749844</c:v>
                </c:pt>
                <c:pt idx="5">
                  <c:v>9.0198320318453207E-2</c:v>
                </c:pt>
                <c:pt idx="6">
                  <c:v>9.08147769128748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2.6592031075283671E-6</c:v>
                </c:pt>
                <c:pt idx="1">
                  <c:v>4.5209053515617963E-5</c:v>
                </c:pt>
                <c:pt idx="2">
                  <c:v>4.6531048058047657E-3</c:v>
                </c:pt>
                <c:pt idx="3">
                  <c:v>6.3579147166659298E-3</c:v>
                </c:pt>
                <c:pt idx="4">
                  <c:v>1.9696240841453369E-2</c:v>
                </c:pt>
                <c:pt idx="5">
                  <c:v>1.478944090729939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1.7286640680279393E-4</c:v>
                </c:pt>
                <c:pt idx="1">
                  <c:v>1.5731670037722409E-3</c:v>
                </c:pt>
                <c:pt idx="2">
                  <c:v>1.0066498536068703E-2</c:v>
                </c:pt>
                <c:pt idx="3">
                  <c:v>1.9074230478585672E-2</c:v>
                </c:pt>
                <c:pt idx="4">
                  <c:v>1.5753939725947116E-2</c:v>
                </c:pt>
                <c:pt idx="5">
                  <c:v>1.947033406049188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3.9618192762123638E-3</c:v>
                </c:pt>
                <c:pt idx="1">
                  <c:v>1.9301367384798859E-2</c:v>
                </c:pt>
                <c:pt idx="2">
                  <c:v>5.0502349441379865E-2</c:v>
                </c:pt>
                <c:pt idx="3">
                  <c:v>0.14384837563010541</c:v>
                </c:pt>
                <c:pt idx="4">
                  <c:v>0.18679820009347509</c:v>
                </c:pt>
                <c:pt idx="5">
                  <c:v>9.1937863062861391E-2</c:v>
                </c:pt>
                <c:pt idx="6">
                  <c:v>2.17505909726188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018</c:v>
                </c:pt>
                <c:pt idx="4">
                  <c:v>0.38440000000000002</c:v>
                </c:pt>
                <c:pt idx="5">
                  <c:v>0.5138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44E-3</c:v>
                </c:pt>
                <c:pt idx="1">
                  <c:v>3.2119265828930418E-2</c:v>
                </c:pt>
                <c:pt idx="2">
                  <c:v>0.11348140494937228</c:v>
                </c:pt>
                <c:pt idx="3">
                  <c:v>0.23589599597480859</c:v>
                </c:pt>
                <c:pt idx="4">
                  <c:v>0.40814205728880376</c:v>
                </c:pt>
                <c:pt idx="5">
                  <c:v>0.20556364616861456</c:v>
                </c:pt>
                <c:pt idx="6">
                  <c:v>7.166297012213648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3569573067529505E-3</c:v>
                </c:pt>
                <c:pt idx="4">
                  <c:v>8.8979448050836435E-3</c:v>
                </c:pt>
                <c:pt idx="5">
                  <c:v>1.18917799932748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4958174110288519E-6</c:v>
                </c:pt>
                <c:pt idx="1">
                  <c:v>9.2451416695232998E-3</c:v>
                </c:pt>
                <c:pt idx="2">
                  <c:v>4.0919173330030652E-2</c:v>
                </c:pt>
                <c:pt idx="3">
                  <c:v>5.5159640769974413E-2</c:v>
                </c:pt>
                <c:pt idx="4">
                  <c:v>0.15016308138349577</c:v>
                </c:pt>
                <c:pt idx="5">
                  <c:v>8.0742727458019248E-2</c:v>
                </c:pt>
                <c:pt idx="6">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9805135674046311E-6</c:v>
                </c:pt>
                <c:pt idx="1">
                  <c:v>4.3536867143488152E-6</c:v>
                </c:pt>
                <c:pt idx="2">
                  <c:v>5.3234779363264184E-3</c:v>
                </c:pt>
                <c:pt idx="3">
                  <c:v>7.3885580806643007E-3</c:v>
                </c:pt>
                <c:pt idx="4">
                  <c:v>2.316147177190065E-2</c:v>
                </c:pt>
                <c:pt idx="5">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566037556505814E-3</c:v>
                </c:pt>
                <c:pt idx="2">
                  <c:v>6.1774139088906594E-3</c:v>
                </c:pt>
                <c:pt idx="3">
                  <c:v>6.2881948613748833E-3</c:v>
                </c:pt>
                <c:pt idx="4">
                  <c:v>2.3073758924982701E-2</c:v>
                </c:pt>
                <c:pt idx="5">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735237572705821E-3</c:v>
                </c:pt>
                <c:pt idx="1">
                  <c:v>2.0613166717042185E-2</c:v>
                </c:pt>
                <c:pt idx="2">
                  <c:v>6.1061339774124555E-2</c:v>
                </c:pt>
                <c:pt idx="3">
                  <c:v>0.16470264495604203</c:v>
                </c:pt>
                <c:pt idx="4">
                  <c:v>0.20284580040334099</c:v>
                </c:pt>
                <c:pt idx="5">
                  <c:v>0.11044703543659924</c:v>
                </c:pt>
                <c:pt idx="6">
                  <c:v>6.526240725006622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5679999999999999</c:v>
                </c:pt>
                <c:pt idx="4">
                  <c:v>0.3926</c:v>
                </c:pt>
                <c:pt idx="5">
                  <c:v>0.450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420847365305087E-2</c:v>
                </c:pt>
                <c:pt idx="1">
                  <c:v>7.2127406664898808E-2</c:v>
                </c:pt>
                <c:pt idx="2">
                  <c:v>0.12448922101236951</c:v>
                </c:pt>
                <c:pt idx="3">
                  <c:v>0.22470231121719719</c:v>
                </c:pt>
                <c:pt idx="4">
                  <c:v>0.38898127765908436</c:v>
                </c:pt>
                <c:pt idx="5">
                  <c:v>0.169391846515174</c:v>
                </c:pt>
                <c:pt idx="6">
                  <c:v>3.887089565971113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41640211301618E-3</c:v>
                </c:pt>
                <c:pt idx="4">
                  <c:v>6.0479859666981309E-3</c:v>
                </c:pt>
                <c:pt idx="5">
                  <c:v>6.942149899591783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0689545892969434E-2</c:v>
                </c:pt>
                <c:pt idx="1">
                  <c:v>4.6076311566490342E-2</c:v>
                </c:pt>
                <c:pt idx="2">
                  <c:v>5.6441440218281749E-2</c:v>
                </c:pt>
                <c:pt idx="3">
                  <c:v>6.7876128690747148E-2</c:v>
                </c:pt>
                <c:pt idx="4">
                  <c:v>0.17835365104065126</c:v>
                </c:pt>
                <c:pt idx="5">
                  <c:v>7.9182487174735278E-2</c:v>
                </c:pt>
                <c:pt idx="6">
                  <c:v>3.80569049119165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3243740375199208E-4</c:v>
                </c:pt>
                <c:pt idx="1">
                  <c:v>1.6380034880776263E-3</c:v>
                </c:pt>
                <c:pt idx="2">
                  <c:v>1.7644037333613471E-2</c:v>
                </c:pt>
                <c:pt idx="3">
                  <c:v>2.0187287348257345E-2</c:v>
                </c:pt>
                <c:pt idx="4">
                  <c:v>2.6736565775955151E-2</c:v>
                </c:pt>
                <c:pt idx="5">
                  <c:v>4.26263053903479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2156215788638701E-3</c:v>
                </c:pt>
                <c:pt idx="3">
                  <c:v>5.3611433946327116E-3</c:v>
                </c:pt>
                <c:pt idx="4">
                  <c:v>1.4681880154110255E-2</c:v>
                </c:pt>
                <c:pt idx="5">
                  <c:v>1.872192493968946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9988640685836626E-3</c:v>
                </c:pt>
                <c:pt idx="1">
                  <c:v>2.441309161033086E-2</c:v>
                </c:pt>
                <c:pt idx="2">
                  <c:v>4.7188121881610409E-2</c:v>
                </c:pt>
                <c:pt idx="3">
                  <c:v>0.1288613496705438</c:v>
                </c:pt>
                <c:pt idx="4">
                  <c:v>0.16316119472166946</c:v>
                </c:pt>
                <c:pt idx="5">
                  <c:v>7.7132386407843215E-2</c:v>
                </c:pt>
                <c:pt idx="6">
                  <c:v>8.13990747794605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5620000000000001</c:v>
                </c:pt>
                <c:pt idx="4">
                  <c:v>0.50060000000000004</c:v>
                </c:pt>
                <c:pt idx="5">
                  <c:v>0.3432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224311620664997E-3</c:v>
                </c:pt>
                <c:pt idx="1">
                  <c:v>3.5024228602596755E-2</c:v>
                </c:pt>
                <c:pt idx="2">
                  <c:v>0.12071333981810425</c:v>
                </c:pt>
                <c:pt idx="3">
                  <c:v>0.24391384913602115</c:v>
                </c:pt>
                <c:pt idx="4">
                  <c:v>0.40695634767233718</c:v>
                </c:pt>
                <c:pt idx="5">
                  <c:v>0.18782239145357105</c:v>
                </c:pt>
                <c:pt idx="6">
                  <c:v>6.474121553031037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5255679109854054E-3</c:v>
                </c:pt>
                <c:pt idx="4">
                  <c:v>8.094831054777785E-3</c:v>
                </c:pt>
                <c:pt idx="5">
                  <c:v>5.55081993361669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6.765554898353805E-4</c:v>
                </c:pt>
                <c:pt idx="1">
                  <c:v>1.5374292781490202E-2</c:v>
                </c:pt>
                <c:pt idx="2">
                  <c:v>5.0939292403561751E-2</c:v>
                </c:pt>
                <c:pt idx="3">
                  <c:v>7.513733277974001E-2</c:v>
                </c:pt>
                <c:pt idx="4">
                  <c:v>0.16236083613397123</c:v>
                </c:pt>
                <c:pt idx="5">
                  <c:v>9.4438366523478603E-2</c:v>
                </c:pt>
                <c:pt idx="6">
                  <c:v>5.7467654799836325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1470953989970035E-6</c:v>
                </c:pt>
                <c:pt idx="1">
                  <c:v>5.3503699626860053E-5</c:v>
                </c:pt>
                <c:pt idx="2">
                  <c:v>5.5068244632918888E-3</c:v>
                </c:pt>
                <c:pt idx="3">
                  <c:v>7.5244211679010454E-3</c:v>
                </c:pt>
                <c:pt idx="4">
                  <c:v>2.3103168195250143E-2</c:v>
                </c:pt>
                <c:pt idx="5">
                  <c:v>1.26255773396524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7839083278226077E-3</c:v>
                </c:pt>
                <c:pt idx="2">
                  <c:v>8.5717999088995144E-3</c:v>
                </c:pt>
                <c:pt idx="3">
                  <c:v>2.0234423766032204E-2</c:v>
                </c:pt>
                <c:pt idx="4">
                  <c:v>1.329608101889782E-2</c:v>
                </c:pt>
                <c:pt idx="5">
                  <c:v>1.327005477078640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427285768321223E-3</c:v>
                </c:pt>
                <c:pt idx="1">
                  <c:v>1.7812523793657085E-2</c:v>
                </c:pt>
                <c:pt idx="2">
                  <c:v>5.5695423042351075E-2</c:v>
                </c:pt>
                <c:pt idx="3">
                  <c:v>0.13849210351136254</c:v>
                </c:pt>
                <c:pt idx="4">
                  <c:v>0.20010143126944016</c:v>
                </c:pt>
                <c:pt idx="5">
                  <c:v>8.5243641785431895E-2</c:v>
                </c:pt>
                <c:pt idx="6">
                  <c:v>7.273560730474052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7</c:v>
                </c:pt>
                <c:pt idx="4">
                  <c:v>0.4703</c:v>
                </c:pt>
                <c:pt idx="5">
                  <c:v>0.402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318959519803473E-3</c:v>
                </c:pt>
                <c:pt idx="1">
                  <c:v>4.329334864300062E-2</c:v>
                </c:pt>
                <c:pt idx="2">
                  <c:v>0.11709217419730092</c:v>
                </c:pt>
                <c:pt idx="3">
                  <c:v>0.24465734611122858</c:v>
                </c:pt>
                <c:pt idx="4">
                  <c:v>0.39320893464598827</c:v>
                </c:pt>
                <c:pt idx="5">
                  <c:v>0.19339064677164633</c:v>
                </c:pt>
                <c:pt idx="6">
                  <c:v>1.125653678854936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4762365277406</c:v>
                </c:pt>
                <c:pt idx="4">
                  <c:v>2.2392250263764742E-2</c:v>
                </c:pt>
                <c:pt idx="5">
                  <c:v>0.48755572297648175</c:v>
                </c:pt>
                <c:pt idx="6">
                  <c:v>3.995413378428749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17E-3</c:v>
                </c:pt>
                <c:pt idx="1">
                  <c:v>3.3746952717115544E-2</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476399280447082E-3</c:v>
                </c:pt>
                <c:pt idx="4">
                  <c:v>9.1668879613909376E-3</c:v>
                </c:pt>
                <c:pt idx="5">
                  <c:v>7.849336338458905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6729726484407787E-6</c:v>
                </c:pt>
                <c:pt idx="1">
                  <c:v>9.7136516272242276E-3</c:v>
                </c:pt>
                <c:pt idx="2">
                  <c:v>4.2992807337090502E-2</c:v>
                </c:pt>
                <c:pt idx="3">
                  <c:v>5.7954929570050925E-2</c:v>
                </c:pt>
                <c:pt idx="4">
                  <c:v>0.15777279699652327</c:v>
                </c:pt>
                <c:pt idx="5">
                  <c:v>8.25571628563984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1822314328258191E-6</c:v>
                </c:pt>
                <c:pt idx="1">
                  <c:v>4.5743156296532397E-6</c:v>
                </c:pt>
                <c:pt idx="2">
                  <c:v>5.5932523229095844E-3</c:v>
                </c:pt>
                <c:pt idx="3">
                  <c:v>7.7629831741438445E-3</c:v>
                </c:pt>
                <c:pt idx="4">
                  <c:v>2.4335210428163334E-2</c:v>
                </c:pt>
                <c:pt idx="5">
                  <c:v>1.0329210296098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3709601785048481E-3</c:v>
                </c:pt>
                <c:pt idx="2">
                  <c:v>6.4904626465531858E-3</c:v>
                </c:pt>
                <c:pt idx="3">
                  <c:v>6.6068575724320573E-3</c:v>
                </c:pt>
                <c:pt idx="4">
                  <c:v>2.42430526150492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279955038848874E-3</c:v>
                </c:pt>
                <c:pt idx="1">
                  <c:v>2.1657766595756814E-2</c:v>
                </c:pt>
                <c:pt idx="2">
                  <c:v>6.4155705089157328E-2</c:v>
                </c:pt>
                <c:pt idx="3">
                  <c:v>0.15075143432060614</c:v>
                </c:pt>
                <c:pt idx="4">
                  <c:v>0.20931424311733146</c:v>
                </c:pt>
                <c:pt idx="5">
                  <c:v>0.1007047123058320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0680000000000001</c:v>
                </c:pt>
                <c:pt idx="4">
                  <c:v>0.47670000000000001</c:v>
                </c:pt>
                <c:pt idx="5">
                  <c:v>0.316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129731068865128E-3</c:v>
                </c:pt>
                <c:pt idx="1">
                  <c:v>2.9687248740982775E-2</c:v>
                </c:pt>
                <c:pt idx="2">
                  <c:v>0.12761672668444915</c:v>
                </c:pt>
                <c:pt idx="3">
                  <c:v>0.2547365973255013</c:v>
                </c:pt>
                <c:pt idx="4">
                  <c:v>0.39683477834621461</c:v>
                </c:pt>
                <c:pt idx="5">
                  <c:v>0.17961729434078061</c:v>
                </c:pt>
                <c:pt idx="6">
                  <c:v>4.294381455185055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5.0925001263606613E-3</c:v>
                </c:pt>
                <c:pt idx="4">
                  <c:v>1.1738217493863482E-2</c:v>
                </c:pt>
                <c:pt idx="5">
                  <c:v>7.790917106233211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32153719448863E-2</c:v>
                </c:pt>
                <c:pt idx="2">
                  <c:v>4.0120650889835088E-2</c:v>
                </c:pt>
                <c:pt idx="3">
                  <c:v>5.5950724439345609E-2</c:v>
                </c:pt>
                <c:pt idx="4">
                  <c:v>0.13806127574211677</c:v>
                </c:pt>
                <c:pt idx="5">
                  <c:v>9.0238308254085103E-2</c:v>
                </c:pt>
                <c:pt idx="6">
                  <c:v>4.247152234761888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6.7768328824428072E-3</c:v>
                </c:pt>
                <c:pt idx="3">
                  <c:v>1.1298460329736477E-2</c:v>
                </c:pt>
                <c:pt idx="4">
                  <c:v>2.9381300928092789E-2</c:v>
                </c:pt>
                <c:pt idx="5">
                  <c:v>5.082293737976651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5793331596350784E-2</c:v>
                </c:pt>
                <c:pt idx="4">
                  <c:v>1.6599041892997782E-2</c:v>
                </c:pt>
                <c:pt idx="5">
                  <c:v>7.828265056446146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2129731068865128E-3</c:v>
                </c:pt>
                <c:pt idx="1">
                  <c:v>1.6365711546494147E-2</c:v>
                </c:pt>
                <c:pt idx="2">
                  <c:v>8.0719242912171266E-2</c:v>
                </c:pt>
                <c:pt idx="3">
                  <c:v>0.15660158083370773</c:v>
                </c:pt>
                <c:pt idx="4">
                  <c:v>0.20105494228914383</c:v>
                </c:pt>
                <c:pt idx="5">
                  <c:v>8.0297013101019984E-2</c:v>
                </c:pt>
                <c:pt idx="6">
                  <c:v>4.722922042316661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4762365277406</c:v>
                </c:pt>
                <c:pt idx="4">
                  <c:v>2.2392250263764742E-2</c:v>
                </c:pt>
                <c:pt idx="5">
                  <c:v>0.48755572297648175</c:v>
                </c:pt>
                <c:pt idx="6">
                  <c:v>3.995413378428749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8.824407089686303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56419796612827</c:v>
                </c:pt>
                <c:pt idx="5">
                  <c:v>0.101443131574784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320161660164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7.8632682461324561E-3</c:v>
                </c:pt>
                <c:pt idx="5">
                  <c:v>5.97083160835906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0564399149137016E-4</c:v>
                </c:pt>
                <c:pt idx="4">
                  <c:v>1.4528982017632291E-2</c:v>
                </c:pt>
                <c:pt idx="5">
                  <c:v>7.4958587819601075E-2</c:v>
                </c:pt>
                <c:pt idx="6">
                  <c:v>3.995413378428749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56419796612827</c:v>
                </c:pt>
                <c:pt idx="5">
                  <c:v>0.101443131574784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320161660164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82440708968630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2.0564399149137016E-4</c:v>
                </c:pt>
                <c:pt idx="4">
                  <c:v>2.2392250263764745E-2</c:v>
                </c:pt>
                <c:pt idx="5">
                  <c:v>0.13466690390319169</c:v>
                </c:pt>
                <c:pt idx="6">
                  <c:v>3.995413378428749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0.1000311054065661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7976649108206537</c:v>
                </c:pt>
                <c:pt idx="5">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1538577255202636E-4</c:v>
                </c:pt>
                <c:pt idx="4">
                  <c:v>1.6386580516175055E-2</c:v>
                </c:pt>
                <c:pt idx="5">
                  <c:v>6.4707980405049659E-2</c:v>
                </c:pt>
                <c:pt idx="6">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76427524467293</c:v>
                </c:pt>
                <c:pt idx="4">
                  <c:v>2.5567123997860344E-2</c:v>
                </c:pt>
                <c:pt idx="5">
                  <c:v>0.4786686007574667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0.1176336138776839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576427524467293</c:v>
                </c:pt>
                <c:pt idx="5">
                  <c:v>8.060153991678430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3773196533055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07709908747114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2.5567123997860344E-2</c:v>
                </c:pt>
                <c:pt idx="5">
                  <c:v>5.58892595552316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674173673050519E-3</c:v>
                </c:pt>
                <c:pt idx="1">
                  <c:v>4.9921609106733524E-2</c:v>
                </c:pt>
                <c:pt idx="2">
                  <c:v>3.6855960605703302E-3</c:v>
                </c:pt>
                <c:pt idx="3">
                  <c:v>0.44228751521352899</c:v>
                </c:pt>
                <c:pt idx="4">
                  <c:v>0.48691224316865089</c:v>
                </c:pt>
                <c:pt idx="5">
                  <c:v>1.54256190832112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2.168140222272406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320870563595049</c:v>
                </c:pt>
                <c:pt idx="4">
                  <c:v>0.2254487616337281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5040447002959767</c:v>
                </c:pt>
                <c:pt idx="4">
                  <c:v>0.2029072579275226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049451713408091E-2</c:v>
                </c:pt>
                <c:pt idx="3">
                  <c:v>9.7793763502319244E-3</c:v>
                </c:pt>
                <c:pt idx="4">
                  <c:v>6.9978486221389073E-3</c:v>
                </c:pt>
                <c:pt idx="5">
                  <c:v>4.492362758480105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674173673050519E-3</c:v>
                </c:pt>
                <c:pt idx="1">
                  <c:v>1.5872157393325433E-2</c:v>
                </c:pt>
                <c:pt idx="2">
                  <c:v>3.6855960605703302E-3</c:v>
                </c:pt>
                <c:pt idx="3">
                  <c:v>2.8894963197748896E-2</c:v>
                </c:pt>
                <c:pt idx="4">
                  <c:v>2.9876972762537046E-2</c:v>
                </c:pt>
                <c:pt idx="5">
                  <c:v>1.09332563247311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586891112466138E-3</c:v>
                </c:pt>
                <c:pt idx="1">
                  <c:v>4.9937524365497463E-2</c:v>
                </c:pt>
                <c:pt idx="2">
                  <c:v>3.6831885564629794E-3</c:v>
                </c:pt>
                <c:pt idx="3">
                  <c:v>0.44236697687901727</c:v>
                </c:pt>
                <c:pt idx="4">
                  <c:v>0.48682638770879361</c:v>
                </c:pt>
                <c:pt idx="5">
                  <c:v>1.54272333789821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2.168891632263417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329958816061737</c:v>
                </c:pt>
                <c:pt idx="4">
                  <c:v>0.225523795719669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5045832125471068</c:v>
                </c:pt>
                <c:pt idx="4">
                  <c:v>0.20298021271704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060841271903959E-2</c:v>
                </c:pt>
                <c:pt idx="3">
                  <c:v>9.780310678835254E-3</c:v>
                </c:pt>
                <c:pt idx="4">
                  <c:v>6.9522886074430976E-3</c:v>
                </c:pt>
                <c:pt idx="5">
                  <c:v>4.493247633422964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586891112466138E-3</c:v>
                </c:pt>
                <c:pt idx="1">
                  <c:v>1.58766830935935E-2</c:v>
                </c:pt>
                <c:pt idx="2">
                  <c:v>3.6831885564629794E-3</c:v>
                </c:pt>
                <c:pt idx="3">
                  <c:v>2.8828756784853908E-2</c:v>
                </c:pt>
                <c:pt idx="4">
                  <c:v>2.9681174342006619E-2</c:v>
                </c:pt>
                <c:pt idx="5">
                  <c:v>1.09339857455592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970710399685453E-2</c:v>
                </c:pt>
                <c:pt idx="2">
                  <c:v>2.6146841651990622E-2</c:v>
                </c:pt>
                <c:pt idx="3">
                  <c:v>9.485304119917308E-2</c:v>
                </c:pt>
                <c:pt idx="4">
                  <c:v>4.499118227000734E-2</c:v>
                </c:pt>
                <c:pt idx="5">
                  <c:v>7.759216733359268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1006066755415164E-2</c:v>
                </c:pt>
                <c:pt idx="3">
                  <c:v>2.6441561849660927E-2</c:v>
                </c:pt>
                <c:pt idx="4">
                  <c:v>8.8039606848534527E-2</c:v>
                </c:pt>
                <c:pt idx="5">
                  <c:v>3.8898859553271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2098172766123009E-2</c:v>
                </c:pt>
                <c:pt idx="2">
                  <c:v>5.7943830949497767E-2</c:v>
                </c:pt>
                <c:pt idx="3">
                  <c:v>4.2701024220851792E-2</c:v>
                </c:pt>
                <c:pt idx="4">
                  <c:v>6.5590918261191081E-2</c:v>
                </c:pt>
                <c:pt idx="5">
                  <c:v>1.24288361280974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7.9598219952994806E-3</c:v>
                </c:pt>
                <c:pt idx="2">
                  <c:v>7.4500215207858198E-2</c:v>
                </c:pt>
                <c:pt idx="3">
                  <c:v>3.8968008642345738E-3</c:v>
                </c:pt>
                <c:pt idx="4">
                  <c:v>0.13367799105660602</c:v>
                </c:pt>
                <c:pt idx="5">
                  <c:v>5.104081262347277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6790219135821485E-2</c:v>
                </c:pt>
                <c:pt idx="2">
                  <c:v>5.4005130251259748E-2</c:v>
                </c:pt>
                <c:pt idx="3">
                  <c:v>8.0793952137310415E-2</c:v>
                </c:pt>
                <c:pt idx="4">
                  <c:v>9.5701064800259653E-3</c:v>
                </c:pt>
                <c:pt idx="5">
                  <c:v>9.4055171558825854E-2</c:v>
                </c:pt>
                <c:pt idx="6">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9.2660402847081449E-2</c:v>
                </c:pt>
                <c:pt idx="2">
                  <c:v>7.7800554359570215E-2</c:v>
                </c:pt>
                <c:pt idx="3">
                  <c:v>8.6251124281583498E-3</c:v>
                </c:pt>
                <c:pt idx="4">
                  <c:v>8.4284223346426851E-2</c:v>
                </c:pt>
                <c:pt idx="5">
                  <c:v>1.5077396017676884E-2</c:v>
                </c:pt>
                <c:pt idx="6">
                  <c:v>3.03847035099253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7.8311404423753145E-2</c:v>
                </c:pt>
                <c:pt idx="3">
                  <c:v>1.8882348219866989E-2</c:v>
                </c:pt>
                <c:pt idx="4">
                  <c:v>7.9747482769148073E-2</c:v>
                </c:pt>
                <c:pt idx="5">
                  <c:v>5.15153874663759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7385153119181269E-2</c:v>
                </c:pt>
                <c:pt idx="2">
                  <c:v>2.5272605332432765E-2</c:v>
                </c:pt>
                <c:pt idx="3">
                  <c:v>8.9757687778646202E-3</c:v>
                </c:pt>
                <c:pt idx="4">
                  <c:v>9.5648797155680795E-2</c:v>
                </c:pt>
                <c:pt idx="5">
                  <c:v>6.9720902769734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9.6280795771019693E-6</c:v>
                </c:pt>
                <c:pt idx="3">
                  <c:v>0.14542215544022347</c:v>
                </c:pt>
                <c:pt idx="4">
                  <c:v>1.1530188638661246E-2</c:v>
                </c:pt>
                <c:pt idx="5">
                  <c:v>8.4001767879292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8.5517319788469048E-2</c:v>
                </c:pt>
                <c:pt idx="2">
                  <c:v>7.5099891325612428E-2</c:v>
                </c:pt>
                <c:pt idx="3">
                  <c:v>2.8439093690432658E-2</c:v>
                </c:pt>
                <c:pt idx="4">
                  <c:v>9.4755564569076856E-2</c:v>
                </c:pt>
                <c:pt idx="5">
                  <c:v>5.982980832951794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9352859898126727E-2</c:v>
                </c:pt>
                <c:pt idx="3">
                  <c:v>4.056330411108755E-2</c:v>
                </c:pt>
                <c:pt idx="4">
                  <c:v>9.1037794309395265E-2</c:v>
                </c:pt>
                <c:pt idx="5">
                  <c:v>4.32396029543864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3670613155029493E-2</c:v>
                </c:pt>
                <c:pt idx="4">
                  <c:v>0.13713391532001587</c:v>
                </c:pt>
                <c:pt idx="5">
                  <c:v>5.38120025278830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014</c:v>
                </c:pt>
                <c:pt idx="4">
                  <c:v>0.64549999999999996</c:v>
                </c:pt>
                <c:pt idx="5">
                  <c:v>0.1531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9056946025795E-2</c:v>
                </c:pt>
                <c:pt idx="2">
                  <c:v>4.2170352249504398E-2</c:v>
                </c:pt>
                <c:pt idx="3">
                  <c:v>0.31160187823845797</c:v>
                </c:pt>
                <c:pt idx="4">
                  <c:v>0.55257620984660882</c:v>
                </c:pt>
                <c:pt idx="5">
                  <c:v>5.80848846280230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1.8781125735843562E-2</c:v>
                </c:pt>
                <c:pt idx="4">
                  <c:v>6.0196377689513372E-2</c:v>
                </c:pt>
                <c:pt idx="5">
                  <c:v>1.42809078728944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142165672211526E-2</c:v>
                </c:pt>
                <c:pt idx="2">
                  <c:v>4.2150313744790897E-2</c:v>
                </c:pt>
                <c:pt idx="3">
                  <c:v>8.9582810519761788E-2</c:v>
                </c:pt>
                <c:pt idx="4">
                  <c:v>0.148249200881655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1261080436234465E-2</c:v>
                </c:pt>
                <c:pt idx="4">
                  <c:v>0.10590136309839777</c:v>
                </c:pt>
                <c:pt idx="5">
                  <c:v>5.186619618637958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5767899962245556E-2</c:v>
                </c:pt>
                <c:pt idx="3">
                  <c:v>4.8099294899263859E-2</c:v>
                </c:pt>
                <c:pt idx="4">
                  <c:v>8.75025024527570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6389913115687134E-3</c:v>
                </c:pt>
                <c:pt idx="2">
                  <c:v>2.00385047135032E-5</c:v>
                </c:pt>
                <c:pt idx="3">
                  <c:v>7.3877566647354287E-2</c:v>
                </c:pt>
                <c:pt idx="4">
                  <c:v>0.15072676572428531</c:v>
                </c:pt>
                <c:pt idx="5">
                  <c:v>3.86173571364905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8099999999999999</c:v>
                </c:pt>
                <c:pt idx="4">
                  <c:v>0.67</c:v>
                </c:pt>
                <c:pt idx="5">
                  <c:v>0.1489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58E-2</c:v>
                </c:pt>
                <c:pt idx="2">
                  <c:v>4.8559042899347739E-2</c:v>
                </c:pt>
                <c:pt idx="3">
                  <c:v>0.24618674300182219</c:v>
                </c:pt>
                <c:pt idx="4">
                  <c:v>0.60115421813792924</c:v>
                </c:pt>
                <c:pt idx="5">
                  <c:v>5.6894186185215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1.852628303944447E-2</c:v>
                </c:pt>
                <c:pt idx="4">
                  <c:v>6.857874750025944E-2</c:v>
                </c:pt>
                <c:pt idx="5">
                  <c:v>1.5251409655766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7737478640480985E-2</c:v>
                </c:pt>
                <c:pt idx="2">
                  <c:v>4.8556042232930072E-2</c:v>
                </c:pt>
                <c:pt idx="3">
                  <c:v>4.9426808655054784E-2</c:v>
                </c:pt>
                <c:pt idx="4">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8031779956883459E-2</c:v>
                </c:pt>
                <c:pt idx="3">
                  <c:v>3.9118744057247593E-2</c:v>
                </c:pt>
                <c:pt idx="4">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5.5054676525125794E-2</c:v>
                </c:pt>
                <c:pt idx="4">
                  <c:v>7.4612851658717824E-2</c:v>
                </c:pt>
                <c:pt idx="5">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35067702788914E-2</c:v>
                </c:pt>
                <c:pt idx="2">
                  <c:v>3.0006664176675462E-6</c:v>
                </c:pt>
                <c:pt idx="3">
                  <c:v>8.4060230724949545E-2</c:v>
                </c:pt>
                <c:pt idx="4">
                  <c:v>0.17331373841970341</c:v>
                </c:pt>
                <c:pt idx="5">
                  <c:v>4.16423045145059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5290000000000001</c:v>
                </c:pt>
                <c:pt idx="4">
                  <c:v>0.58289999999999997</c:v>
                </c:pt>
                <c:pt idx="5">
                  <c:v>0.164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9388935039661E-2</c:v>
                </c:pt>
                <c:pt idx="2">
                  <c:v>7.2610312083333933E-2</c:v>
                </c:pt>
                <c:pt idx="3">
                  <c:v>0.29727869587744465</c:v>
                </c:pt>
                <c:pt idx="4">
                  <c:v>0.5592381183173375</c:v>
                </c:pt>
                <c:pt idx="5">
                  <c:v>5.042558302015595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3.4086512150585349E-2</c:v>
                </c:pt>
                <c:pt idx="4">
                  <c:v>7.8569441983839847E-2</c:v>
                </c:pt>
                <c:pt idx="5">
                  <c:v>2.21429543765629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4812217343241065E-3</c:v>
                </c:pt>
                <c:pt idx="2">
                  <c:v>7.2610312083333933E-2</c:v>
                </c:pt>
                <c:pt idx="3">
                  <c:v>9.9094763914147468E-2</c:v>
                </c:pt>
                <c:pt idx="4">
                  <c:v>0.1538200308417653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3.7471466431785415E-2</c:v>
                </c:pt>
                <c:pt idx="4">
                  <c:v>0.1054517831320965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817545383922388E-2</c:v>
                </c:pt>
                <c:pt idx="3">
                  <c:v>5.1980261985186738E-2</c:v>
                </c:pt>
                <c:pt idx="4">
                  <c:v>7.98601049294635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0621816793167543E-5</c:v>
                </c:pt>
                <c:pt idx="3">
                  <c:v>7.4645691395739691E-2</c:v>
                </c:pt>
                <c:pt idx="4">
                  <c:v>0.14153675743017205</c:v>
                </c:pt>
                <c:pt idx="5">
                  <c:v>2.828262864359302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88612710984894E-3</c:v>
                </c:pt>
                <c:pt idx="1">
                  <c:v>9.185168059964095E-3</c:v>
                </c:pt>
                <c:pt idx="2">
                  <c:v>9.6053077373854767E-2</c:v>
                </c:pt>
                <c:pt idx="3">
                  <c:v>0.127049310736117</c:v>
                </c:pt>
                <c:pt idx="4">
                  <c:v>0.3821431582164922</c:v>
                </c:pt>
                <c:pt idx="5">
                  <c:v>0.3825504243424734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7976649108206537</c:v>
                </c:pt>
                <c:pt idx="5">
                  <c:v>0.113533278175020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000311054065661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1538577255202636E-4</c:v>
                </c:pt>
                <c:pt idx="4">
                  <c:v>1.6386580516175055E-2</c:v>
                </c:pt>
                <c:pt idx="5">
                  <c:v>0.11375019107260274</c:v>
                </c:pt>
                <c:pt idx="6">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04955893087454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524259776242277E-3</c:v>
                </c:pt>
                <c:pt idx="1">
                  <c:v>7.0945211912657865E-3</c:v>
                </c:pt>
                <c:pt idx="2">
                  <c:v>5.9694618653955998E-2</c:v>
                </c:pt>
                <c:pt idx="3">
                  <c:v>4.4831422700257521E-2</c:v>
                </c:pt>
                <c:pt idx="4">
                  <c:v>0.22050351280158359</c:v>
                </c:pt>
                <c:pt idx="5">
                  <c:v>0.2320968943150542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5385764307538406E-2</c:v>
                </c:pt>
                <c:pt idx="3">
                  <c:v>1.8265798993763481E-2</c:v>
                </c:pt>
                <c:pt idx="4">
                  <c:v>3.9625612627645274E-2</c:v>
                </c:pt>
                <c:pt idx="5">
                  <c:v>4.6638767350208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8.0465357918409353E-3</c:v>
                </c:pt>
                <c:pt idx="3">
                  <c:v>1.140624553148443E-2</c:v>
                </c:pt>
                <c:pt idx="4">
                  <c:v>2.484489318086661E-2</c:v>
                </c:pt>
                <c:pt idx="5">
                  <c:v>4.47816022274725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64352934742619E-3</c:v>
                </c:pt>
                <c:pt idx="1">
                  <c:v>2.0906468686983089E-3</c:v>
                </c:pt>
                <c:pt idx="3">
                  <c:v>5.2545843510611583E-2</c:v>
                </c:pt>
                <c:pt idx="4">
                  <c:v>9.716913960639672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4</c:v>
                </c:pt>
                <c:pt idx="4">
                  <c:v>0.431716533043907</c:v>
                </c:pt>
                <c:pt idx="5">
                  <c:v>0.34687347885839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614462086261064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379025521232942E-3</c:v>
                </c:pt>
                <c:pt idx="2">
                  <c:v>5.4935686849600637E-2</c:v>
                </c:pt>
                <c:pt idx="3">
                  <c:v>3.0131992612146163E-2</c:v>
                </c:pt>
                <c:pt idx="4">
                  <c:v>0.25750047951529925</c:v>
                </c:pt>
                <c:pt idx="5">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6.7867160776327196E-6</c:v>
                </c:pt>
                <c:pt idx="3">
                  <c:v>2.6903631912361108E-2</c:v>
                </c:pt>
                <c:pt idx="4">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015872551181919E-2</c:v>
                </c:pt>
                <c:pt idx="3">
                  <c:v>1.4920294777882427E-2</c:v>
                </c:pt>
                <c:pt idx="4">
                  <c:v>2.7240050179626343E-2</c:v>
                </c:pt>
                <c:pt idx="5">
                  <c:v>4.620981065137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0151149182612673E-3</c:v>
                </c:pt>
                <c:pt idx="2">
                  <c:v>1.1416258171888585E-2</c:v>
                </c:pt>
                <c:pt idx="3">
                  <c:v>5.7786057515740862E-2</c:v>
                </c:pt>
                <c:pt idx="4">
                  <c:v>9.8976628327898164E-2</c:v>
                </c:pt>
                <c:pt idx="5">
                  <c:v>0.104991637188068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1585917127786388E-4</c:v>
                </c:pt>
                <c:pt idx="2">
                  <c:v>8.4537935788821073E-2</c:v>
                </c:pt>
                <c:pt idx="3">
                  <c:v>0.13253867325736088</c:v>
                </c:pt>
                <c:pt idx="4">
                  <c:v>0.37859105977403795</c:v>
                </c:pt>
                <c:pt idx="5">
                  <c:v>0.403348105724409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395925692415380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3.2220950000204293E-2</c:v>
                </c:pt>
                <c:pt idx="3">
                  <c:v>4.4378948332113803E-2</c:v>
                </c:pt>
                <c:pt idx="4">
                  <c:v>0.20098436646965284</c:v>
                </c:pt>
                <c:pt idx="5">
                  <c:v>0.244350326048523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4.1318992638801351E-2</c:v>
                </c:pt>
                <c:pt idx="3">
                  <c:v>3.0843041594187433E-2</c:v>
                </c:pt>
                <c:pt idx="4">
                  <c:v>7.1689419441668054E-2</c:v>
                </c:pt>
                <c:pt idx="5">
                  <c:v>6.59040915583318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4.02186473454441E-2</c:v>
                </c:pt>
                <c:pt idx="4">
                  <c:v>5.50231221842114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5.1585917127786388E-4</c:v>
                </c:pt>
                <c:pt idx="2">
                  <c:v>1.0997993149815418E-2</c:v>
                </c:pt>
                <c:pt idx="3">
                  <c:v>1.7098035985615531E-2</c:v>
                </c:pt>
                <c:pt idx="4">
                  <c:v>5.089415167850566E-2</c:v>
                </c:pt>
                <c:pt idx="5">
                  <c:v>7.913443119340060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819792720813648E-2</c:v>
                </c:pt>
                <c:pt idx="1">
                  <c:v>6.6370813398914985E-2</c:v>
                </c:pt>
                <c:pt idx="2">
                  <c:v>0.2125129507988319</c:v>
                </c:pt>
                <c:pt idx="3">
                  <c:v>0.48743383700972776</c:v>
                </c:pt>
                <c:pt idx="4">
                  <c:v>0.20735317089297553</c:v>
                </c:pt>
                <c:pt idx="5">
                  <c:v>9.50943517873611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0266035421996767E-6</c:v>
                </c:pt>
                <c:pt idx="1">
                  <c:v>5.296827957095844E-2</c:v>
                </c:pt>
                <c:pt idx="2">
                  <c:v>8.3867900401204343E-2</c:v>
                </c:pt>
                <c:pt idx="3">
                  <c:v>0.15016907970240934</c:v>
                </c:pt>
                <c:pt idx="4">
                  <c:v>7.52532883728185E-2</c:v>
                </c:pt>
                <c:pt idx="5">
                  <c:v>1.8086524642538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738916323677808E-2</c:v>
                </c:pt>
                <c:pt idx="4">
                  <c:v>6.7853973068256107E-2</c:v>
                </c:pt>
                <c:pt idx="5">
                  <c:v>2.398302897874519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8600717668277242E-4</c:v>
                </c:pt>
                <c:pt idx="2">
                  <c:v>7.5237268071817409E-2</c:v>
                </c:pt>
                <c:pt idx="3">
                  <c:v>3.6041600401656611E-2</c:v>
                </c:pt>
                <c:pt idx="4">
                  <c:v>1.7551487796707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6817766117271447E-2</c:v>
                </c:pt>
                <c:pt idx="1">
                  <c:v>1.301652665127378E-2</c:v>
                </c:pt>
                <c:pt idx="2">
                  <c:v>5.3407782325810144E-2</c:v>
                </c:pt>
                <c:pt idx="3">
                  <c:v>0.21248424058198406</c:v>
                </c:pt>
                <c:pt idx="4">
                  <c:v>4.6694421655193788E-2</c:v>
                </c:pt>
                <c:pt idx="5">
                  <c:v>5.30247981660778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7E-2</c:v>
                </c:pt>
                <c:pt idx="1">
                  <c:v>4.5885342498018893E-2</c:v>
                </c:pt>
                <c:pt idx="2">
                  <c:v>0.19124469261645943</c:v>
                </c:pt>
                <c:pt idx="3">
                  <c:v>0.50343710515048379</c:v>
                </c:pt>
                <c:pt idx="4">
                  <c:v>0.2325703370616464</c:v>
                </c:pt>
                <c:pt idx="5">
                  <c:v>1.17315861923018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2843822305474016E-2</c:v>
                </c:pt>
                <c:pt idx="2">
                  <c:v>6.3974896538575313E-2</c:v>
                </c:pt>
                <c:pt idx="3">
                  <c:v>0.14093418959066523</c:v>
                </c:pt>
                <c:pt idx="4">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921297738606626E-2</c:v>
                </c:pt>
                <c:pt idx="4">
                  <c:v>8.2993007242709221E-2</c:v>
                </c:pt>
                <c:pt idx="5">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3154878141065264E-4</c:v>
                </c:pt>
                <c:pt idx="2">
                  <c:v>7.4036116742946231E-2</c:v>
                </c:pt>
                <c:pt idx="3">
                  <c:v>4.9380779319311785E-2</c:v>
                </c:pt>
                <c:pt idx="4">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30936481089645E-2</c:v>
                </c:pt>
                <c:pt idx="1">
                  <c:v>1.2209971411134227E-2</c:v>
                </c:pt>
                <c:pt idx="2">
                  <c:v>5.3233679334937875E-2</c:v>
                </c:pt>
                <c:pt idx="3">
                  <c:v>0.22920083850190018</c:v>
                </c:pt>
                <c:pt idx="4">
                  <c:v>6.3911261988601795E-2</c:v>
                </c:pt>
                <c:pt idx="5">
                  <c:v>8.12796244627917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48095006001869E-2</c:v>
                </c:pt>
                <c:pt idx="1">
                  <c:v>6.8189233962195048E-2</c:v>
                </c:pt>
                <c:pt idx="2">
                  <c:v>0.22875689942069607</c:v>
                </c:pt>
                <c:pt idx="3">
                  <c:v>0.46899938383941098</c:v>
                </c:pt>
                <c:pt idx="4">
                  <c:v>0.19053599834963247</c:v>
                </c:pt>
                <c:pt idx="5">
                  <c:v>1.397038942206357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818298469513979</c:v>
                </c:pt>
                <c:pt idx="4">
                  <c:v>6.9620083328755467E-2</c:v>
                </c:pt>
                <c:pt idx="5">
                  <c:v>3.2833489370207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5873497731134245E-2</c:v>
                </c:pt>
                <c:pt idx="2">
                  <c:v>7.0791942653234644E-2</c:v>
                </c:pt>
                <c:pt idx="3">
                  <c:v>9.3145466690510506E-2</c:v>
                </c:pt>
                <c:pt idx="4">
                  <c:v>5.8137128165688175E-2</c:v>
                </c:pt>
                <c:pt idx="5">
                  <c:v>3.887310013905008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2013889619398598E-2</c:v>
                </c:pt>
                <c:pt idx="2">
                  <c:v>5.0210537768131155E-2</c:v>
                </c:pt>
                <c:pt idx="3">
                  <c:v>8.7825237532536904E-2</c:v>
                </c:pt>
                <c:pt idx="4">
                  <c:v>2.3993274830219805E-2</c:v>
                </c:pt>
                <c:pt idx="5">
                  <c:v>6.752198639420797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9548095006001869E-2</c:v>
                </c:pt>
                <c:pt idx="1">
                  <c:v>3.0184661166220763E-4</c:v>
                </c:pt>
                <c:pt idx="2">
                  <c:v>0.10775441899933028</c:v>
                </c:pt>
                <c:pt idx="3">
                  <c:v>0.17984569492122379</c:v>
                </c:pt>
                <c:pt idx="4">
                  <c:v>3.8785512024969014E-2</c:v>
                </c:pt>
                <c:pt idx="5">
                  <c:v>4.753183171705625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87568750277387E-3</c:v>
                </c:pt>
                <c:pt idx="2">
                  <c:v>7.1716732875305694E-2</c:v>
                </c:pt>
                <c:pt idx="3">
                  <c:v>0.18235048082072933</c:v>
                </c:pt>
                <c:pt idx="4">
                  <c:v>0.58286701673784502</c:v>
                </c:pt>
                <c:pt idx="5">
                  <c:v>0.15702225463134503</c:v>
                </c:pt>
                <c:pt idx="6">
                  <c:v>3.851930377276612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8.7705305207334234E-5</c:v>
                </c:pt>
                <c:pt idx="2">
                  <c:v>2.31878680470529E-2</c:v>
                </c:pt>
                <c:pt idx="3">
                  <c:v>9.0902835888482386E-2</c:v>
                </c:pt>
                <c:pt idx="4">
                  <c:v>0.24153246803757059</c:v>
                </c:pt>
                <c:pt idx="5">
                  <c:v>7.5124136386244891E-2</c:v>
                </c:pt>
                <c:pt idx="6">
                  <c:v>3.70806129079390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4538713780861858E-4</c:v>
                </c:pt>
                <c:pt idx="2">
                  <c:v>3.5548688278670505E-2</c:v>
                </c:pt>
                <c:pt idx="3">
                  <c:v>4.8573057731941406E-2</c:v>
                </c:pt>
                <c:pt idx="4">
                  <c:v>0.14913991355585904</c:v>
                </c:pt>
                <c:pt idx="5">
                  <c:v>8.15029998100306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3956110292314673E-3</c:v>
                </c:pt>
                <c:pt idx="3">
                  <c:v>2.414488755483972E-2</c:v>
                </c:pt>
                <c:pt idx="4">
                  <c:v>5.3057343508777971E-2</c:v>
                </c:pt>
                <c:pt idx="5">
                  <c:v>6.371884551167715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0584565520350827E-2</c:v>
                </c:pt>
                <c:pt idx="3">
                  <c:v>1.8729699645465822E-2</c:v>
                </c:pt>
                <c:pt idx="4">
                  <c:v>0.13913729163563737</c:v>
                </c:pt>
                <c:pt idx="5">
                  <c:v>7.311062980898031E-2</c:v>
                </c:pt>
                <c:pt idx="6">
                  <c:v>1.438690864827110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76427524467293</c:v>
                </c:pt>
                <c:pt idx="4">
                  <c:v>2.5567123997860344E-2</c:v>
                </c:pt>
                <c:pt idx="5">
                  <c:v>0.4786686007574667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4993</c:v>
                </c:pt>
                <c:pt idx="5">
                  <c:v>0.1937222447665026</c:v>
                </c:pt>
                <c:pt idx="6">
                  <c:v>7.295793532500751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007935502443258E-2</c:v>
                </c:pt>
                <c:pt idx="3">
                  <c:v>5.2165348389913241E-2</c:v>
                </c:pt>
                <c:pt idx="4">
                  <c:v>0.20214649925508837</c:v>
                </c:pt>
                <c:pt idx="5">
                  <c:v>0.10372441251558287</c:v>
                </c:pt>
                <c:pt idx="6">
                  <c:v>4.525976182421893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0785858632611054E-5</c:v>
                </c:pt>
                <c:pt idx="2">
                  <c:v>3.7643461722091778E-2</c:v>
                </c:pt>
                <c:pt idx="3">
                  <c:v>5.2246089232947733E-2</c:v>
                </c:pt>
                <c:pt idx="4">
                  <c:v>0.16377976700594907</c:v>
                </c:pt>
                <c:pt idx="5">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havro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3.033674906731739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1526013155783148E-2</c:v>
                </c:pt>
                <c:pt idx="3">
                  <c:v>3.9833473679440595E-2</c:v>
                </c:pt>
                <c:pt idx="4">
                  <c:v>0.17060849508319506</c:v>
                </c:pt>
                <c:pt idx="5">
                  <c:v>8.3046112393619323E-2</c:v>
                </c:pt>
                <c:pt idx="6">
                  <c:v>2.769817350078858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896460218759088E-3</c:v>
                </c:pt>
                <c:pt idx="2">
                  <c:v>0.10153314288048981</c:v>
                </c:pt>
                <c:pt idx="3">
                  <c:v>0.20586609235711967</c:v>
                </c:pt>
                <c:pt idx="4">
                  <c:v>0.55518641870889496</c:v>
                </c:pt>
                <c:pt idx="5">
                  <c:v>0.10484566547132006</c:v>
                </c:pt>
                <c:pt idx="6">
                  <c:v>2.89790345602996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257619061526832E-2</c:v>
                </c:pt>
                <c:pt idx="3">
                  <c:v>7.7121552645744121E-2</c:v>
                </c:pt>
                <c:pt idx="4">
                  <c:v>0.20055224165036376</c:v>
                </c:pt>
                <c:pt idx="5">
                  <c:v>3.469095546079983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422706756053669E-2</c:v>
                </c:pt>
                <c:pt idx="3">
                  <c:v>9.48310595249479E-2</c:v>
                </c:pt>
                <c:pt idx="4">
                  <c:v>0.18865178559150755</c:v>
                </c:pt>
                <c:pt idx="5">
                  <c:v>6.0601342390179884E-2</c:v>
                </c:pt>
                <c:pt idx="6">
                  <c:v>2.897903456029966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985552925047129E-2</c:v>
                </c:pt>
                <c:pt idx="4">
                  <c:v>7.0120074535225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5896460218759088E-3</c:v>
                </c:pt>
                <c:pt idx="2">
                  <c:v>1.0484562584262978E-3</c:v>
                </c:pt>
                <c:pt idx="3">
                  <c:v>6.9279272613804975E-3</c:v>
                </c:pt>
                <c:pt idx="4">
                  <c:v>9.5862316931797795E-2</c:v>
                </c:pt>
                <c:pt idx="5">
                  <c:v>4.07752275350601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7E-2</c:v>
                </c:pt>
                <c:pt idx="4">
                  <c:v>0.88843076945420352</c:v>
                </c:pt>
                <c:pt idx="5">
                  <c:v>7.0245061760014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993966973793626E-5</c:v>
                </c:pt>
                <c:pt idx="4">
                  <c:v>0.32425813305511542</c:v>
                </c:pt>
                <c:pt idx="5">
                  <c:v>1.2128953678173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9.3137540633138035E-4</c:v>
                </c:pt>
                <c:pt idx="4">
                  <c:v>0.16433112599937943</c:v>
                </c:pt>
                <c:pt idx="5">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5.185674526282818E-4</c:v>
                </c:pt>
                <c:pt idx="1">
                  <c:v>1.5620317363869789E-3</c:v>
                </c:pt>
                <c:pt idx="2">
                  <c:v>5.554790142341344E-3</c:v>
                </c:pt>
                <c:pt idx="3">
                  <c:v>3.2737410081120064E-2</c:v>
                </c:pt>
                <c:pt idx="4">
                  <c:v>0.21684337898925027</c:v>
                </c:pt>
                <c:pt idx="5">
                  <c:v>4.10527905493841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576427524467293</c:v>
                </c:pt>
                <c:pt idx="5">
                  <c:v>8.060153991678430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3773196533055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176336138776839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2.5567123997860344E-2</c:v>
                </c:pt>
                <c:pt idx="5">
                  <c:v>0.13666025042994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784618550905057E-4</c:v>
                </c:pt>
                <c:pt idx="4">
                  <c:v>0.20313096092644092</c:v>
                </c:pt>
                <c:pt idx="5">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7623447649261598</c:v>
                </c:pt>
                <c:pt idx="5">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1172031082152861E-3</c:v>
                </c:pt>
                <c:pt idx="1">
                  <c:v>2.2320532191512647E-3</c:v>
                </c:pt>
                <c:pt idx="2">
                  <c:v>5.5221708815645486E-3</c:v>
                </c:pt>
                <c:pt idx="3">
                  <c:v>3.2054568203037939E-2</c:v>
                </c:pt>
                <c:pt idx="4">
                  <c:v>0.30120106393124985</c:v>
                </c:pt>
                <c:pt idx="5">
                  <c:v>7.49119037818627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13</c:v>
                </c:pt>
                <c:pt idx="5">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279747884294907</c:v>
                </c:pt>
                <c:pt idx="5">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5900475742707917</c:v>
                </c:pt>
                <c:pt idx="5">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7239854391077266E-2</c:v>
                </c:pt>
                <c:pt idx="4">
                  <c:v>0.17733099961828863</c:v>
                </c:pt>
                <c:pt idx="5">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993279684305E-3</c:v>
                </c:pt>
                <c:pt idx="1">
                  <c:v>0.10379758187685387</c:v>
                </c:pt>
                <c:pt idx="2">
                  <c:v>1.3305784201201484E-2</c:v>
                </c:pt>
                <c:pt idx="3">
                  <c:v>0.39967783872269125</c:v>
                </c:pt>
                <c:pt idx="4">
                  <c:v>0.46495170435034044</c:v>
                </c:pt>
                <c:pt idx="5">
                  <c:v>1.67984915209445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0904850122340795E-2</c:v>
                </c:pt>
                <c:pt idx="2">
                  <c:v>6.9463893749893866E-3</c:v>
                </c:pt>
                <c:pt idx="3">
                  <c:v>0.15309090685846943</c:v>
                </c:pt>
                <c:pt idx="4">
                  <c:v>0.21751476129732042</c:v>
                </c:pt>
                <c:pt idx="5">
                  <c:v>9.32366344482651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534258240478993E-2</c:v>
                </c:pt>
                <c:pt idx="3">
                  <c:v>8.97559542339557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9213030948686226E-3</c:v>
                </c:pt>
                <c:pt idx="3">
                  <c:v>6.2283819511418766E-2</c:v>
                </c:pt>
                <c:pt idx="4">
                  <c:v>8.5791676675791347E-3</c:v>
                </c:pt>
                <c:pt idx="5">
                  <c:v>2.752232544909301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4685993279684305E-3</c:v>
                </c:pt>
                <c:pt idx="1">
                  <c:v>2.3628846254854508E-2</c:v>
                </c:pt>
                <c:pt idx="2">
                  <c:v>6.3593948262120961E-3</c:v>
                </c:pt>
                <c:pt idx="3">
                  <c:v>9.4547158118847258E-2</c:v>
                </c:pt>
                <c:pt idx="4">
                  <c:v>0.2388577753854409</c:v>
                </c:pt>
                <c:pt idx="5">
                  <c:v>7.199604821627076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896170947494E-3</c:v>
                </c:pt>
                <c:pt idx="1">
                  <c:v>0.10381350294445126</c:v>
                </c:pt>
                <c:pt idx="2">
                  <c:v>1.3298932772208446E-2</c:v>
                </c:pt>
                <c:pt idx="3">
                  <c:v>0.39976047211771548</c:v>
                </c:pt>
                <c:pt idx="4">
                  <c:v>0.46489119167635218</c:v>
                </c:pt>
                <c:pt idx="5">
                  <c:v>1.67673108721777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0912778992076007E-2</c:v>
                </c:pt>
                <c:pt idx="2">
                  <c:v>6.9453748943536595E-3</c:v>
                </c:pt>
                <c:pt idx="3">
                  <c:v>0.1531302469668929</c:v>
                </c:pt>
                <c:pt idx="4">
                  <c:v>0.21757042954675185</c:v>
                </c:pt>
                <c:pt idx="5">
                  <c:v>9.32600193669245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5354406998810798E-2</c:v>
                </c:pt>
                <c:pt idx="3">
                  <c:v>8.977932371618711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9222241833742153E-3</c:v>
                </c:pt>
                <c:pt idx="3">
                  <c:v>6.2324077633608164E-2</c:v>
                </c:pt>
                <c:pt idx="4">
                  <c:v>8.5813108280069494E-3</c:v>
                </c:pt>
                <c:pt idx="5">
                  <c:v>2.695137566034012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4685896170947494E-3</c:v>
                </c:pt>
                <c:pt idx="1">
                  <c:v>2.3624092770190234E-2</c:v>
                </c:pt>
                <c:pt idx="2">
                  <c:v>6.3535578778547855E-3</c:v>
                </c:pt>
                <c:pt idx="3">
                  <c:v>9.4526823801027379E-2</c:v>
                </c:pt>
                <c:pt idx="4">
                  <c:v>0.23873945130159344</c:v>
                </c:pt>
                <c:pt idx="5">
                  <c:v>7.171795178881899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674173673050519E-3</c:v>
                </c:pt>
                <c:pt idx="1">
                  <c:v>4.9921609106733524E-2</c:v>
                </c:pt>
                <c:pt idx="2">
                  <c:v>3.6855960605703302E-3</c:v>
                </c:pt>
                <c:pt idx="3">
                  <c:v>0.44228751521352899</c:v>
                </c:pt>
                <c:pt idx="4">
                  <c:v>0.48691224316865089</c:v>
                </c:pt>
                <c:pt idx="5">
                  <c:v>1.54256190832112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4.5488425883166584E-3</c:v>
                </c:pt>
                <c:pt idx="3">
                  <c:v>2.3581214999405342E-3</c:v>
                </c:pt>
                <c:pt idx="4">
                  <c:v>8.1259512449830124E-3</c:v>
                </c:pt>
                <c:pt idx="5">
                  <c:v>4.012918237050988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094551065857661E-3</c:v>
                </c:pt>
                <c:pt idx="1">
                  <c:v>2.2373605200913908E-2</c:v>
                </c:pt>
                <c:pt idx="2">
                  <c:v>5.1870221414047561E-2</c:v>
                </c:pt>
                <c:pt idx="3">
                  <c:v>7.3242794636750902E-2</c:v>
                </c:pt>
                <c:pt idx="4">
                  <c:v>0.16397549254749844</c:v>
                </c:pt>
                <c:pt idx="5">
                  <c:v>9.0198320318453207E-2</c:v>
                </c:pt>
                <c:pt idx="6">
                  <c:v>9.08147769128748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2.6592031075283671E-6</c:v>
                </c:pt>
                <c:pt idx="1">
                  <c:v>4.5209053515617963E-5</c:v>
                </c:pt>
                <c:pt idx="2">
                  <c:v>4.6531048058047657E-3</c:v>
                </c:pt>
                <c:pt idx="3">
                  <c:v>6.3579147166659298E-3</c:v>
                </c:pt>
                <c:pt idx="4">
                  <c:v>1.9696240841453369E-2</c:v>
                </c:pt>
                <c:pt idx="5">
                  <c:v>1.478944090729939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1.7286640680279393E-4</c:v>
                </c:pt>
                <c:pt idx="1">
                  <c:v>1.5731670037722409E-3</c:v>
                </c:pt>
                <c:pt idx="2">
                  <c:v>1.0066498536068703E-2</c:v>
                </c:pt>
                <c:pt idx="3">
                  <c:v>1.9074230478585672E-2</c:v>
                </c:pt>
                <c:pt idx="4">
                  <c:v>1.5753939725947116E-2</c:v>
                </c:pt>
                <c:pt idx="5">
                  <c:v>1.947033406049188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3.9618192762123638E-3</c:v>
                </c:pt>
                <c:pt idx="1">
                  <c:v>1.9301367384798859E-2</c:v>
                </c:pt>
                <c:pt idx="2">
                  <c:v>4.5953506853063208E-2</c:v>
                </c:pt>
                <c:pt idx="3">
                  <c:v>0.14362428477928557</c:v>
                </c:pt>
                <c:pt idx="4">
                  <c:v>0.18565731028610627</c:v>
                </c:pt>
                <c:pt idx="5">
                  <c:v>9.5753430719363056E-2</c:v>
                </c:pt>
                <c:pt idx="6">
                  <c:v>2.17505909726188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320870563595049</c:v>
                </c:pt>
                <c:pt idx="4">
                  <c:v>0.2254487616337281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5040447002959767</c:v>
                </c:pt>
                <c:pt idx="4">
                  <c:v>0.2029072579275226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049451713408091E-2</c:v>
                </c:pt>
                <c:pt idx="3">
                  <c:v>9.7793763502319244E-3</c:v>
                </c:pt>
                <c:pt idx="4">
                  <c:v>6.9978486221389073E-3</c:v>
                </c:pt>
                <c:pt idx="5">
                  <c:v>4.492362758480105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674173673050519E-3</c:v>
                </c:pt>
                <c:pt idx="1">
                  <c:v>1.5872157393325433E-2</c:v>
                </c:pt>
                <c:pt idx="2">
                  <c:v>3.6855960605703302E-3</c:v>
                </c:pt>
                <c:pt idx="3">
                  <c:v>2.8894963197748896E-2</c:v>
                </c:pt>
                <c:pt idx="4">
                  <c:v>5.1558374985261113E-2</c:v>
                </c:pt>
                <c:pt idx="5">
                  <c:v>1.09332563247311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586891112466138E-3</c:v>
                </c:pt>
                <c:pt idx="1">
                  <c:v>4.9937524365497463E-2</c:v>
                </c:pt>
                <c:pt idx="2">
                  <c:v>3.6831885564629794E-3</c:v>
                </c:pt>
                <c:pt idx="3">
                  <c:v>0.44236697687901727</c:v>
                </c:pt>
                <c:pt idx="4">
                  <c:v>0.48682638770879361</c:v>
                </c:pt>
                <c:pt idx="5">
                  <c:v>1.54272333789821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25329958816061737</c:v>
                </c:pt>
                <c:pt idx="4">
                  <c:v>0.225523795719669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0.15045832125471068</c:v>
                </c:pt>
                <c:pt idx="4">
                  <c:v>0.20298021271704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4060841271903959E-2</c:v>
                </c:pt>
                <c:pt idx="3">
                  <c:v>9.780310678835254E-3</c:v>
                </c:pt>
                <c:pt idx="4">
                  <c:v>6.9522886074430976E-3</c:v>
                </c:pt>
                <c:pt idx="5">
                  <c:v>4.493247633422964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7586891112466138E-3</c:v>
                </c:pt>
                <c:pt idx="1">
                  <c:v>1.58766830935935E-2</c:v>
                </c:pt>
                <c:pt idx="2">
                  <c:v>3.6831885564629794E-3</c:v>
                </c:pt>
                <c:pt idx="3">
                  <c:v>2.8828756784853908E-2</c:v>
                </c:pt>
                <c:pt idx="4">
                  <c:v>5.1370090664640794E-2</c:v>
                </c:pt>
                <c:pt idx="5">
                  <c:v>1.09339857455592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959999999999999</c:v>
                </c:pt>
                <c:pt idx="3">
                  <c:v>0.12939999999999999</c:v>
                </c:pt>
                <c:pt idx="4">
                  <c:v>0.43080000000000002</c:v>
                </c:pt>
                <c:pt idx="5">
                  <c:v>0.19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1006066755415164E-2</c:v>
                </c:pt>
                <c:pt idx="3">
                  <c:v>2.6441561849660927E-2</c:v>
                </c:pt>
                <c:pt idx="4">
                  <c:v>8.8039606848534527E-2</c:v>
                </c:pt>
                <c:pt idx="5">
                  <c:v>3.889885955327180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970710399685453E-2</c:v>
                </c:pt>
                <c:pt idx="2">
                  <c:v>2.6146841651990622E-2</c:v>
                </c:pt>
                <c:pt idx="3">
                  <c:v>9.485304119917308E-2</c:v>
                </c:pt>
                <c:pt idx="4">
                  <c:v>4.499118227000734E-2</c:v>
                </c:pt>
                <c:pt idx="5">
                  <c:v>7.759216733359268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8.2098172766123009E-2</c:v>
                </c:pt>
                <c:pt idx="2">
                  <c:v>5.7943830949497767E-2</c:v>
                </c:pt>
                <c:pt idx="3">
                  <c:v>4.2701024220851792E-2</c:v>
                </c:pt>
                <c:pt idx="4">
                  <c:v>6.5590918261191081E-2</c:v>
                </c:pt>
                <c:pt idx="5">
                  <c:v>1.242883612809747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7.9598219952994806E-3</c:v>
                </c:pt>
                <c:pt idx="2">
                  <c:v>7.1942690401433543E-2</c:v>
                </c:pt>
                <c:pt idx="3">
                  <c:v>3.8968008642345738E-3</c:v>
                </c:pt>
                <c:pt idx="4">
                  <c:v>6.7446694636725937E-2</c:v>
                </c:pt>
                <c:pt idx="5">
                  <c:v>9.748964456850599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2.5575248064246526E-3</c:v>
                </c:pt>
                <c:pt idx="4">
                  <c:v>6.6231296419880084E-2</c:v>
                </c:pt>
                <c:pt idx="5">
                  <c:v>4.12918481666221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4279999999999999</c:v>
                </c:pt>
                <c:pt idx="3">
                  <c:v>8.2699999999999996E-2</c:v>
                </c:pt>
                <c:pt idx="4">
                  <c:v>0.34910000000000002</c:v>
                </c:pt>
                <c:pt idx="5">
                  <c:v>0.225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7.8311404423753145E-2</c:v>
                </c:pt>
                <c:pt idx="3">
                  <c:v>1.8882348219866989E-2</c:v>
                </c:pt>
                <c:pt idx="4">
                  <c:v>7.9747482769148073E-2</c:v>
                </c:pt>
                <c:pt idx="5">
                  <c:v>5.151538746637596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6790219135821485E-2</c:v>
                </c:pt>
                <c:pt idx="2">
                  <c:v>5.4005130251259748E-2</c:v>
                </c:pt>
                <c:pt idx="3">
                  <c:v>8.0793952137310415E-2</c:v>
                </c:pt>
                <c:pt idx="4">
                  <c:v>9.5701064800259653E-3</c:v>
                </c:pt>
                <c:pt idx="5">
                  <c:v>9.4055171558825854E-2</c:v>
                </c:pt>
                <c:pt idx="6">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9.2660402847081449E-2</c:v>
                </c:pt>
                <c:pt idx="2">
                  <c:v>7.7800554359570215E-2</c:v>
                </c:pt>
                <c:pt idx="3">
                  <c:v>8.6251124281583498E-3</c:v>
                </c:pt>
                <c:pt idx="4">
                  <c:v>8.4284223346426851E-2</c:v>
                </c:pt>
                <c:pt idx="5">
                  <c:v>1.5077396017676884E-2</c:v>
                </c:pt>
                <c:pt idx="6">
                  <c:v>3.03847035099253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4.876471996844424E-2</c:v>
                </c:pt>
                <c:pt idx="5">
                  <c:v>4.69606592107808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7385153119181269E-2</c:v>
                </c:pt>
                <c:pt idx="2">
                  <c:v>2.5272605332432765E-2</c:v>
                </c:pt>
                <c:pt idx="3">
                  <c:v>8.9757687778646202E-3</c:v>
                </c:pt>
                <c:pt idx="4">
                  <c:v>4.6884077187236556E-2</c:v>
                </c:pt>
                <c:pt idx="5">
                  <c:v>2.27602435589535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2469999999999999</c:v>
                </c:pt>
                <c:pt idx="3">
                  <c:v>7.8299999999999995E-2</c:v>
                </c:pt>
                <c:pt idx="4">
                  <c:v>0.35499999999999998</c:v>
                </c:pt>
                <c:pt idx="5">
                  <c:v>0.241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5340000000000001</c:v>
                </c:pt>
                <c:pt idx="3">
                  <c:v>0.17319999999999999</c:v>
                </c:pt>
                <c:pt idx="4">
                  <c:v>0.38869999999999999</c:v>
                </c:pt>
                <c:pt idx="5">
                  <c:v>0.184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9352859898126727E-2</c:v>
                </c:pt>
                <c:pt idx="3">
                  <c:v>4.056330411108755E-2</c:v>
                </c:pt>
                <c:pt idx="4">
                  <c:v>9.1037794309395265E-2</c:v>
                </c:pt>
                <c:pt idx="5">
                  <c:v>4.323960295438646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9.6280795771019693E-6</c:v>
                </c:pt>
                <c:pt idx="3">
                  <c:v>0.14542215544022347</c:v>
                </c:pt>
                <c:pt idx="4">
                  <c:v>1.1530188638661246E-2</c:v>
                </c:pt>
                <c:pt idx="5">
                  <c:v>8.4001767879292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8.5517319788469048E-2</c:v>
                </c:pt>
                <c:pt idx="2">
                  <c:v>7.5099891325612428E-2</c:v>
                </c:pt>
                <c:pt idx="3">
                  <c:v>2.8439093690432658E-2</c:v>
                </c:pt>
                <c:pt idx="4">
                  <c:v>9.4755564569076856E-2</c:v>
                </c:pt>
                <c:pt idx="5">
                  <c:v>5.982980832951794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4.3670613155029493E-2</c:v>
                </c:pt>
                <c:pt idx="4">
                  <c:v>7.1197190239585539E-2</c:v>
                </c:pt>
                <c:pt idx="5">
                  <c:v>1.0948253169328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6.5936725080430317E-2</c:v>
                </c:pt>
                <c:pt idx="5">
                  <c:v>4.28637493585548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3529999999999999</c:v>
                </c:pt>
                <c:pt idx="5">
                  <c:v>0.6646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9056946025795E-2</c:v>
                </c:pt>
                <c:pt idx="2">
                  <c:v>4.2170352249504398E-2</c:v>
                </c:pt>
                <c:pt idx="3">
                  <c:v>0.31160187823845797</c:v>
                </c:pt>
                <c:pt idx="4">
                  <c:v>0.55257620984660882</c:v>
                </c:pt>
                <c:pt idx="5">
                  <c:v>5.80848846280230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2.4146627060464827E-3</c:v>
                </c:pt>
                <c:pt idx="5">
                  <c:v>4.786084127078703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142165672211526E-2</c:v>
                </c:pt>
                <c:pt idx="2">
                  <c:v>4.2150313744790897E-2</c:v>
                </c:pt>
                <c:pt idx="3">
                  <c:v>8.9582810519761788E-2</c:v>
                </c:pt>
                <c:pt idx="4">
                  <c:v>0.148249200881655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1261080436234465E-2</c:v>
                </c:pt>
                <c:pt idx="4">
                  <c:v>0.10590136309839777</c:v>
                </c:pt>
                <c:pt idx="5">
                  <c:v>5.186619618637958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5767899962245556E-2</c:v>
                </c:pt>
                <c:pt idx="3">
                  <c:v>4.8099294899263859E-2</c:v>
                </c:pt>
                <c:pt idx="4">
                  <c:v>8.75025024527570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6389913115687134E-3</c:v>
                </c:pt>
                <c:pt idx="2">
                  <c:v>2.00385047135032E-5</c:v>
                </c:pt>
                <c:pt idx="3">
                  <c:v>9.2658692383197849E-2</c:v>
                </c:pt>
                <c:pt idx="4">
                  <c:v>0.20850848070775219</c:v>
                </c:pt>
                <c:pt idx="5">
                  <c:v>4.81121808823063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46250000000000002</c:v>
                </c:pt>
                <c:pt idx="5">
                  <c:v>0.5374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58E-2</c:v>
                </c:pt>
                <c:pt idx="2">
                  <c:v>4.8559042899347739E-2</c:v>
                </c:pt>
                <c:pt idx="3">
                  <c:v>0.24618674300182219</c:v>
                </c:pt>
                <c:pt idx="4">
                  <c:v>0.60115421813792924</c:v>
                </c:pt>
                <c:pt idx="5">
                  <c:v>5.6894186185215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4.7848491834714662E-3</c:v>
                </c:pt>
                <c:pt idx="5">
                  <c:v>5.56124633252818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7737478640480985E-2</c:v>
                </c:pt>
                <c:pt idx="2">
                  <c:v>4.8556042232930072E-2</c:v>
                </c:pt>
                <c:pt idx="3">
                  <c:v>4.9426808655054784E-2</c:v>
                </c:pt>
                <c:pt idx="4">
                  <c:v>0.1813656053096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8031779956883459E-2</c:v>
                </c:pt>
                <c:pt idx="3">
                  <c:v>3.9118744057247593E-2</c:v>
                </c:pt>
                <c:pt idx="4">
                  <c:v>0.103283275249647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5.5054676525125794E-2</c:v>
                </c:pt>
                <c:pt idx="4">
                  <c:v>7.4612851658717824E-2</c:v>
                </c:pt>
                <c:pt idx="5">
                  <c:v>4.7201494210500729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35067702788914E-2</c:v>
                </c:pt>
                <c:pt idx="2">
                  <c:v>3.0006664176675462E-6</c:v>
                </c:pt>
                <c:pt idx="3">
                  <c:v>0.10258651376439401</c:v>
                </c:pt>
                <c:pt idx="4">
                  <c:v>0.23710763673649138</c:v>
                </c:pt>
                <c:pt idx="5">
                  <c:v>5.1332467837744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4.1999999999999997E-3</c:v>
                </c:pt>
                <c:pt idx="5">
                  <c:v>0.9958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44E-3</c:v>
                </c:pt>
                <c:pt idx="1">
                  <c:v>3.2119265828930418E-2</c:v>
                </c:pt>
                <c:pt idx="2">
                  <c:v>0.11348140494937228</c:v>
                </c:pt>
                <c:pt idx="3">
                  <c:v>0.23589599597480859</c:v>
                </c:pt>
                <c:pt idx="4">
                  <c:v>0.40814205728880376</c:v>
                </c:pt>
                <c:pt idx="5">
                  <c:v>0.20556364616861456</c:v>
                </c:pt>
                <c:pt idx="6">
                  <c:v>7.166297012213648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9388935039661E-2</c:v>
                </c:pt>
                <c:pt idx="2">
                  <c:v>7.2610312083333933E-2</c:v>
                </c:pt>
                <c:pt idx="3">
                  <c:v>0.29727869587744465</c:v>
                </c:pt>
                <c:pt idx="4">
                  <c:v>0.5592381183173375</c:v>
                </c:pt>
                <c:pt idx="5">
                  <c:v>5.042558302015595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2.8717668286993418E-5</c:v>
                </c:pt>
                <c:pt idx="5">
                  <c:v>6.737071715712026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4812217343241065E-3</c:v>
                </c:pt>
                <c:pt idx="2">
                  <c:v>7.2610312083333933E-2</c:v>
                </c:pt>
                <c:pt idx="3">
                  <c:v>9.9094763914147468E-2</c:v>
                </c:pt>
                <c:pt idx="4">
                  <c:v>0.1538200308417653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3.7471466431785415E-2</c:v>
                </c:pt>
                <c:pt idx="4">
                  <c:v>0.1054517831320965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817545383922388E-2</c:v>
                </c:pt>
                <c:pt idx="3">
                  <c:v>5.1980261985186738E-2</c:v>
                </c:pt>
                <c:pt idx="4">
                  <c:v>7.98601049294635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0621816793167543E-5</c:v>
                </c:pt>
                <c:pt idx="3">
                  <c:v>0.10873220354632504</c:v>
                </c:pt>
                <c:pt idx="4">
                  <c:v>0.22007748174572492</c:v>
                </c:pt>
                <c:pt idx="5">
                  <c:v>4.3688511304443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88612710984894E-3</c:v>
                </c:pt>
                <c:pt idx="1">
                  <c:v>9.185168059964095E-3</c:v>
                </c:pt>
                <c:pt idx="2">
                  <c:v>9.6053077373854767E-2</c:v>
                </c:pt>
                <c:pt idx="3">
                  <c:v>0.127049310736117</c:v>
                </c:pt>
                <c:pt idx="4">
                  <c:v>0.3821431582164922</c:v>
                </c:pt>
                <c:pt idx="5">
                  <c:v>0.3825504243424734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524259776242277E-3</c:v>
                </c:pt>
                <c:pt idx="1">
                  <c:v>7.0945211912657865E-3</c:v>
                </c:pt>
                <c:pt idx="2">
                  <c:v>5.9694618653955998E-2</c:v>
                </c:pt>
                <c:pt idx="3">
                  <c:v>4.4831422700257521E-2</c:v>
                </c:pt>
                <c:pt idx="4">
                  <c:v>0.22050351280158359</c:v>
                </c:pt>
                <c:pt idx="5">
                  <c:v>0.2320968943150542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5385764307538406E-2</c:v>
                </c:pt>
                <c:pt idx="3">
                  <c:v>1.8265798993763481E-2</c:v>
                </c:pt>
                <c:pt idx="4">
                  <c:v>3.9625612627645274E-2</c:v>
                </c:pt>
                <c:pt idx="5">
                  <c:v>4.6638767350208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8.0465357918409353E-3</c:v>
                </c:pt>
                <c:pt idx="3">
                  <c:v>1.140624553148443E-2</c:v>
                </c:pt>
                <c:pt idx="4">
                  <c:v>2.484489318086661E-2</c:v>
                </c:pt>
                <c:pt idx="5">
                  <c:v>4.47816022274725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664352934742619E-3</c:v>
                </c:pt>
                <c:pt idx="1">
                  <c:v>2.0906468686983089E-3</c:v>
                </c:pt>
                <c:pt idx="3">
                  <c:v>5.2545843510611583E-2</c:v>
                </c:pt>
                <c:pt idx="4">
                  <c:v>9.7169139606396726E-2</c:v>
                </c:pt>
                <c:pt idx="5">
                  <c:v>5.90331604497378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4</c:v>
                </c:pt>
                <c:pt idx="4">
                  <c:v>0.431716533043907</c:v>
                </c:pt>
                <c:pt idx="5">
                  <c:v>0.34687347885839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6379025521232942E-3</c:v>
                </c:pt>
                <c:pt idx="2">
                  <c:v>5.4935686849600637E-2</c:v>
                </c:pt>
                <c:pt idx="3">
                  <c:v>3.0131992612146163E-2</c:v>
                </c:pt>
                <c:pt idx="4">
                  <c:v>0.25750047951529925</c:v>
                </c:pt>
                <c:pt idx="5">
                  <c:v>0.179527410156338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6.7867160776327196E-6</c:v>
                </c:pt>
                <c:pt idx="3">
                  <c:v>2.6903631912361108E-2</c:v>
                </c:pt>
                <c:pt idx="4">
                  <c:v>4.79993750210832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015872551181919E-2</c:v>
                </c:pt>
                <c:pt idx="3">
                  <c:v>1.4920294777882427E-2</c:v>
                </c:pt>
                <c:pt idx="4">
                  <c:v>2.7240050179626343E-2</c:v>
                </c:pt>
                <c:pt idx="5">
                  <c:v>4.620981065137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0151149182612673E-3</c:v>
                </c:pt>
                <c:pt idx="2">
                  <c:v>1.1416258171888585E-2</c:v>
                </c:pt>
                <c:pt idx="3">
                  <c:v>5.7786057515740862E-2</c:v>
                </c:pt>
                <c:pt idx="4">
                  <c:v>9.8976628327898164E-2</c:v>
                </c:pt>
                <c:pt idx="5">
                  <c:v>0.121136258050679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1585917127786388E-4</c:v>
                </c:pt>
                <c:pt idx="2">
                  <c:v>8.4537935788821073E-2</c:v>
                </c:pt>
                <c:pt idx="3">
                  <c:v>0.13253867325736088</c:v>
                </c:pt>
                <c:pt idx="4">
                  <c:v>0.37859105977403795</c:v>
                </c:pt>
                <c:pt idx="5">
                  <c:v>0.403348105724409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8.123258798760101E-3</c:v>
                </c:pt>
                <c:pt idx="3">
                  <c:v>1.9586700359540744E-3</c:v>
                </c:pt>
                <c:pt idx="4">
                  <c:v>8.8809632822244248E-3</c:v>
                </c:pt>
                <c:pt idx="5">
                  <c:v>6.051217045025776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4958174110288519E-6</c:v>
                </c:pt>
                <c:pt idx="1">
                  <c:v>9.2451416695232998E-3</c:v>
                </c:pt>
                <c:pt idx="2">
                  <c:v>4.0919173330030652E-2</c:v>
                </c:pt>
                <c:pt idx="3">
                  <c:v>5.5159640769974413E-2</c:v>
                </c:pt>
                <c:pt idx="4">
                  <c:v>0.15016308138349577</c:v>
                </c:pt>
                <c:pt idx="5">
                  <c:v>8.0742727458019248E-2</c:v>
                </c:pt>
                <c:pt idx="6">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9805135674046311E-6</c:v>
                </c:pt>
                <c:pt idx="1">
                  <c:v>4.3536867143488152E-6</c:v>
                </c:pt>
                <c:pt idx="2">
                  <c:v>5.3234779363264184E-3</c:v>
                </c:pt>
                <c:pt idx="3">
                  <c:v>7.3885580806643007E-3</c:v>
                </c:pt>
                <c:pt idx="4">
                  <c:v>2.316147177190065E-2</c:v>
                </c:pt>
                <c:pt idx="5">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566037556505814E-3</c:v>
                </c:pt>
                <c:pt idx="2">
                  <c:v>6.1774139088906594E-3</c:v>
                </c:pt>
                <c:pt idx="3">
                  <c:v>6.2881948613748833E-3</c:v>
                </c:pt>
                <c:pt idx="4">
                  <c:v>2.3073758924982701E-2</c:v>
                </c:pt>
                <c:pt idx="5">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735237572705821E-3</c:v>
                </c:pt>
                <c:pt idx="1">
                  <c:v>2.0613166717042185E-2</c:v>
                </c:pt>
                <c:pt idx="2">
                  <c:v>5.2938080975364454E-2</c:v>
                </c:pt>
                <c:pt idx="3">
                  <c:v>0.16510093222684091</c:v>
                </c:pt>
                <c:pt idx="4">
                  <c:v>0.20286278192620019</c:v>
                </c:pt>
                <c:pt idx="5">
                  <c:v>0.11628759838484828</c:v>
                </c:pt>
                <c:pt idx="6">
                  <c:v>6.526240725006622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3.2220950000204293E-2</c:v>
                </c:pt>
                <c:pt idx="3">
                  <c:v>4.4378948332113803E-2</c:v>
                </c:pt>
                <c:pt idx="4">
                  <c:v>0.20098436646965284</c:v>
                </c:pt>
                <c:pt idx="5">
                  <c:v>0.244350326048523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4.1318992638801351E-2</c:v>
                </c:pt>
                <c:pt idx="3">
                  <c:v>3.0843041594187433E-2</c:v>
                </c:pt>
                <c:pt idx="4">
                  <c:v>7.1689419441668054E-2</c:v>
                </c:pt>
                <c:pt idx="5">
                  <c:v>6.59040915583318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4.02186473454441E-2</c:v>
                </c:pt>
                <c:pt idx="4">
                  <c:v>5.50231221842114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5.1585917127786388E-4</c:v>
                </c:pt>
                <c:pt idx="2">
                  <c:v>1.0997993149815418E-2</c:v>
                </c:pt>
                <c:pt idx="3">
                  <c:v>1.7098035985615531E-2</c:v>
                </c:pt>
                <c:pt idx="4">
                  <c:v>5.089415167850566E-2</c:v>
                </c:pt>
                <c:pt idx="5">
                  <c:v>9.30936881175544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819792720813648E-2</c:v>
                </c:pt>
                <c:pt idx="1">
                  <c:v>6.6370813398914985E-2</c:v>
                </c:pt>
                <c:pt idx="2">
                  <c:v>0.2125129507988319</c:v>
                </c:pt>
                <c:pt idx="3">
                  <c:v>0.48743383700972776</c:v>
                </c:pt>
                <c:pt idx="4">
                  <c:v>0.20735317089297553</c:v>
                </c:pt>
                <c:pt idx="5">
                  <c:v>9.50943517873611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0266035421996767E-6</c:v>
                </c:pt>
                <c:pt idx="1">
                  <c:v>5.296827957095844E-2</c:v>
                </c:pt>
                <c:pt idx="2">
                  <c:v>8.3867900401204343E-2</c:v>
                </c:pt>
                <c:pt idx="3">
                  <c:v>0.15016907970240934</c:v>
                </c:pt>
                <c:pt idx="4">
                  <c:v>7.52532883728185E-2</c:v>
                </c:pt>
                <c:pt idx="5">
                  <c:v>1.8086524642538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738916323677808E-2</c:v>
                </c:pt>
                <c:pt idx="4">
                  <c:v>6.7853973068256107E-2</c:v>
                </c:pt>
                <c:pt idx="5">
                  <c:v>2.398302897874519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8600717668277242E-4</c:v>
                </c:pt>
                <c:pt idx="2">
                  <c:v>7.5237268071817409E-2</c:v>
                </c:pt>
                <c:pt idx="3">
                  <c:v>3.6041600401656611E-2</c:v>
                </c:pt>
                <c:pt idx="4">
                  <c:v>1.7551487796707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6817766117271447E-2</c:v>
                </c:pt>
                <c:pt idx="1">
                  <c:v>1.301652665127378E-2</c:v>
                </c:pt>
                <c:pt idx="2">
                  <c:v>5.3407782325810144E-2</c:v>
                </c:pt>
                <c:pt idx="3">
                  <c:v>0.21248424058198406</c:v>
                </c:pt>
                <c:pt idx="4">
                  <c:v>4.6694421655193788E-2</c:v>
                </c:pt>
                <c:pt idx="5">
                  <c:v>5.30247981660778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7E-2</c:v>
                </c:pt>
                <c:pt idx="1">
                  <c:v>4.5885342498018893E-2</c:v>
                </c:pt>
                <c:pt idx="2">
                  <c:v>0.19124469261645943</c:v>
                </c:pt>
                <c:pt idx="3">
                  <c:v>0.50343710515048379</c:v>
                </c:pt>
                <c:pt idx="4">
                  <c:v>0.2325703370616464</c:v>
                </c:pt>
                <c:pt idx="5">
                  <c:v>1.17315861923018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2843822305474016E-2</c:v>
                </c:pt>
                <c:pt idx="2">
                  <c:v>6.3974896538575313E-2</c:v>
                </c:pt>
                <c:pt idx="3">
                  <c:v>0.14093418959066523</c:v>
                </c:pt>
                <c:pt idx="4">
                  <c:v>7.10388434465586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921297738606626E-2</c:v>
                </c:pt>
                <c:pt idx="4">
                  <c:v>8.2993007242709221E-2</c:v>
                </c:pt>
                <c:pt idx="5">
                  <c:v>3.603623746022635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3154878141065264E-4</c:v>
                </c:pt>
                <c:pt idx="2">
                  <c:v>7.4036116742946231E-2</c:v>
                </c:pt>
                <c:pt idx="3">
                  <c:v>4.9380779319311785E-2</c:v>
                </c:pt>
                <c:pt idx="4">
                  <c:v>1.46272243837767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30936481089645E-2</c:v>
                </c:pt>
                <c:pt idx="1">
                  <c:v>1.2209971411134227E-2</c:v>
                </c:pt>
                <c:pt idx="2">
                  <c:v>5.3233679334937875E-2</c:v>
                </c:pt>
                <c:pt idx="3">
                  <c:v>0.22920083850190018</c:v>
                </c:pt>
                <c:pt idx="4">
                  <c:v>6.3911261988601795E-2</c:v>
                </c:pt>
                <c:pt idx="5">
                  <c:v>8.12796244627917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48095006001869E-2</c:v>
                </c:pt>
                <c:pt idx="1">
                  <c:v>6.8189233962195048E-2</c:v>
                </c:pt>
                <c:pt idx="2">
                  <c:v>0.22875689942069607</c:v>
                </c:pt>
                <c:pt idx="3">
                  <c:v>0.46899938383941098</c:v>
                </c:pt>
                <c:pt idx="4">
                  <c:v>0.19053599834963247</c:v>
                </c:pt>
                <c:pt idx="5">
                  <c:v>1.397038942206357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10818298469513979</c:v>
                </c:pt>
                <c:pt idx="4">
                  <c:v>6.9620083328755467E-2</c:v>
                </c:pt>
                <c:pt idx="5">
                  <c:v>3.2833489370207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5873497731134245E-2</c:v>
                </c:pt>
                <c:pt idx="2">
                  <c:v>7.0791942653234644E-2</c:v>
                </c:pt>
                <c:pt idx="3">
                  <c:v>9.3145466690510506E-2</c:v>
                </c:pt>
                <c:pt idx="4">
                  <c:v>5.8137128165688175E-2</c:v>
                </c:pt>
                <c:pt idx="5">
                  <c:v>3.887310013905008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2013889619398598E-2</c:v>
                </c:pt>
                <c:pt idx="2">
                  <c:v>5.0210537768131155E-2</c:v>
                </c:pt>
                <c:pt idx="3">
                  <c:v>8.7825237532536904E-2</c:v>
                </c:pt>
                <c:pt idx="4">
                  <c:v>2.3993274830219805E-2</c:v>
                </c:pt>
                <c:pt idx="5">
                  <c:v>6.752198639420797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9548095006001869E-2</c:v>
                </c:pt>
                <c:pt idx="1">
                  <c:v>3.0184661166220763E-4</c:v>
                </c:pt>
                <c:pt idx="2">
                  <c:v>0.10775441899933028</c:v>
                </c:pt>
                <c:pt idx="3">
                  <c:v>0.17984569492122379</c:v>
                </c:pt>
                <c:pt idx="4">
                  <c:v>3.8785512024969014E-2</c:v>
                </c:pt>
                <c:pt idx="5">
                  <c:v>4.753183171705625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410000000000001</c:v>
                </c:pt>
                <c:pt idx="3">
                  <c:v>0.16689999999999999</c:v>
                </c:pt>
                <c:pt idx="4">
                  <c:v>0.37459999999999999</c:v>
                </c:pt>
                <c:pt idx="5">
                  <c:v>0.214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87568750277387E-3</c:v>
                </c:pt>
                <c:pt idx="2">
                  <c:v>7.1716732875305694E-2</c:v>
                </c:pt>
                <c:pt idx="3">
                  <c:v>0.18235048082072933</c:v>
                </c:pt>
                <c:pt idx="4">
                  <c:v>0.58286701673784502</c:v>
                </c:pt>
                <c:pt idx="5">
                  <c:v>0.15702225463134503</c:v>
                </c:pt>
                <c:pt idx="6">
                  <c:v>3.851930377276612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8.7705305207334234E-5</c:v>
                </c:pt>
                <c:pt idx="2">
                  <c:v>2.31878680470529E-2</c:v>
                </c:pt>
                <c:pt idx="3">
                  <c:v>9.0902835888482386E-2</c:v>
                </c:pt>
                <c:pt idx="4">
                  <c:v>0.24153246803757059</c:v>
                </c:pt>
                <c:pt idx="5">
                  <c:v>7.5124136386244891E-2</c:v>
                </c:pt>
                <c:pt idx="6">
                  <c:v>3.70806129079390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4538713780861858E-4</c:v>
                </c:pt>
                <c:pt idx="2">
                  <c:v>3.5548688278670505E-2</c:v>
                </c:pt>
                <c:pt idx="3">
                  <c:v>4.8573057731941406E-2</c:v>
                </c:pt>
                <c:pt idx="4">
                  <c:v>0.14913991355585904</c:v>
                </c:pt>
                <c:pt idx="5">
                  <c:v>8.15029998100306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3956110292314673E-3</c:v>
                </c:pt>
                <c:pt idx="3">
                  <c:v>2.414488755483972E-2</c:v>
                </c:pt>
                <c:pt idx="4">
                  <c:v>5.3057343508777971E-2</c:v>
                </c:pt>
                <c:pt idx="5">
                  <c:v>6.371884551167715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0584565520350827E-2</c:v>
                </c:pt>
                <c:pt idx="3">
                  <c:v>1.8729699645465822E-2</c:v>
                </c:pt>
                <c:pt idx="4">
                  <c:v>0.13913729163563737</c:v>
                </c:pt>
                <c:pt idx="5">
                  <c:v>7.311062980898031E-2</c:v>
                </c:pt>
                <c:pt idx="6">
                  <c:v>1.438690864827110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4993</c:v>
                </c:pt>
                <c:pt idx="5">
                  <c:v>0.1937222447665026</c:v>
                </c:pt>
                <c:pt idx="6">
                  <c:v>7.295793532500751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007935502443258E-2</c:v>
                </c:pt>
                <c:pt idx="3">
                  <c:v>5.2165348389913241E-2</c:v>
                </c:pt>
                <c:pt idx="4">
                  <c:v>0.20214649925508837</c:v>
                </c:pt>
                <c:pt idx="5">
                  <c:v>0.10372441251558287</c:v>
                </c:pt>
                <c:pt idx="6">
                  <c:v>4.525976182421893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0785858632611054E-5</c:v>
                </c:pt>
                <c:pt idx="2">
                  <c:v>3.7643461722091778E-2</c:v>
                </c:pt>
                <c:pt idx="3">
                  <c:v>5.2246089232947733E-2</c:v>
                </c:pt>
                <c:pt idx="4">
                  <c:v>0.16377976700594907</c:v>
                </c:pt>
                <c:pt idx="5">
                  <c:v>6.951719857300417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havro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3.033674906731739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1.1526013155783148E-2</c:v>
                </c:pt>
                <c:pt idx="3">
                  <c:v>3.9833473679440595E-2</c:v>
                </c:pt>
                <c:pt idx="4">
                  <c:v>0.17060849508319506</c:v>
                </c:pt>
                <c:pt idx="5">
                  <c:v>8.3046112393619323E-2</c:v>
                </c:pt>
                <c:pt idx="6">
                  <c:v>2.769817350078858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896460218759088E-3</c:v>
                </c:pt>
                <c:pt idx="2">
                  <c:v>0.10153314288048981</c:v>
                </c:pt>
                <c:pt idx="3">
                  <c:v>0.20586609235711967</c:v>
                </c:pt>
                <c:pt idx="4">
                  <c:v>0.55518641870889496</c:v>
                </c:pt>
                <c:pt idx="5">
                  <c:v>0.10484566547132006</c:v>
                </c:pt>
                <c:pt idx="6">
                  <c:v>2.89790345602996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257619061526832E-2</c:v>
                </c:pt>
                <c:pt idx="3">
                  <c:v>7.7121552645744121E-2</c:v>
                </c:pt>
                <c:pt idx="4">
                  <c:v>0.20055224165036376</c:v>
                </c:pt>
                <c:pt idx="5">
                  <c:v>3.469095546079983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422706756053669E-2</c:v>
                </c:pt>
                <c:pt idx="3">
                  <c:v>9.48310595249479E-2</c:v>
                </c:pt>
                <c:pt idx="4">
                  <c:v>0.18865178559150755</c:v>
                </c:pt>
                <c:pt idx="5">
                  <c:v>6.0601342390179884E-2</c:v>
                </c:pt>
                <c:pt idx="6">
                  <c:v>2.897903456029966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6985552925047129E-2</c:v>
                </c:pt>
                <c:pt idx="4">
                  <c:v>7.01200745352257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5896460218759088E-3</c:v>
                </c:pt>
                <c:pt idx="2">
                  <c:v>1.0484562584262978E-3</c:v>
                </c:pt>
                <c:pt idx="3">
                  <c:v>6.9279272613804975E-3</c:v>
                </c:pt>
                <c:pt idx="4">
                  <c:v>9.5862316931797795E-2</c:v>
                </c:pt>
                <c:pt idx="5">
                  <c:v>4.07752275350601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420847365305087E-2</c:v>
                </c:pt>
                <c:pt idx="1">
                  <c:v>7.2127406664898808E-2</c:v>
                </c:pt>
                <c:pt idx="2">
                  <c:v>0.12448922101236951</c:v>
                </c:pt>
                <c:pt idx="3">
                  <c:v>0.22470231121719719</c:v>
                </c:pt>
                <c:pt idx="4">
                  <c:v>0.38898127765908436</c:v>
                </c:pt>
                <c:pt idx="5">
                  <c:v>0.169391846515174</c:v>
                </c:pt>
                <c:pt idx="6">
                  <c:v>3.887089565971113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7E-2</c:v>
                </c:pt>
                <c:pt idx="4">
                  <c:v>0.88843076945420352</c:v>
                </c:pt>
                <c:pt idx="5">
                  <c:v>7.02450617600147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9993966973793626E-5</c:v>
                </c:pt>
                <c:pt idx="4">
                  <c:v>0.32425813305511542</c:v>
                </c:pt>
                <c:pt idx="5">
                  <c:v>1.21289536781735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9.3137540633138035E-4</c:v>
                </c:pt>
                <c:pt idx="4">
                  <c:v>0.16433112599937943</c:v>
                </c:pt>
                <c:pt idx="5">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5.185674526282818E-4</c:v>
                </c:pt>
                <c:pt idx="1">
                  <c:v>1.5620317363869789E-3</c:v>
                </c:pt>
                <c:pt idx="2">
                  <c:v>5.554790142341344E-3</c:v>
                </c:pt>
                <c:pt idx="3">
                  <c:v>3.2737410081120064E-2</c:v>
                </c:pt>
                <c:pt idx="4">
                  <c:v>0.21684337898925027</c:v>
                </c:pt>
                <c:pt idx="5">
                  <c:v>4.10527905493841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2784618550905057E-4</c:v>
                </c:pt>
                <c:pt idx="4">
                  <c:v>0.20313096092644092</c:v>
                </c:pt>
                <c:pt idx="5">
                  <c:v>1.65533358599295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7623447649261598</c:v>
                </c:pt>
                <c:pt idx="5">
                  <c:v>2.0632805676307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1172031082152861E-3</c:v>
                </c:pt>
                <c:pt idx="1">
                  <c:v>2.2320532191512647E-3</c:v>
                </c:pt>
                <c:pt idx="2">
                  <c:v>5.5221708815645486E-3</c:v>
                </c:pt>
                <c:pt idx="3">
                  <c:v>3.2054568203037939E-2</c:v>
                </c:pt>
                <c:pt idx="4">
                  <c:v>0.30120106393124985</c:v>
                </c:pt>
                <c:pt idx="5">
                  <c:v>7.49119037818627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13</c:v>
                </c:pt>
                <c:pt idx="5">
                  <c:v>8.53586690376218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705356062228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279747884294907</c:v>
                </c:pt>
                <c:pt idx="5">
                  <c:v>2.31953896714489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5900475742707917</c:v>
                </c:pt>
                <c:pt idx="5">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7239854391077266E-2</c:v>
                </c:pt>
                <c:pt idx="4">
                  <c:v>0.17733099961828863</c:v>
                </c:pt>
                <c:pt idx="5">
                  <c:v>3.84347971809218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993279684305E-3</c:v>
                </c:pt>
                <c:pt idx="1">
                  <c:v>0.10379758187685387</c:v>
                </c:pt>
                <c:pt idx="2">
                  <c:v>1.3305784201201484E-2</c:v>
                </c:pt>
                <c:pt idx="3">
                  <c:v>0.39967783872269125</c:v>
                </c:pt>
                <c:pt idx="4">
                  <c:v>0.46495170435034044</c:v>
                </c:pt>
                <c:pt idx="5">
                  <c:v>1.67984915209445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3.1926492326954012E-3</c:v>
                </c:pt>
                <c:pt idx="3">
                  <c:v>2.1819403811060714E-3</c:v>
                </c:pt>
                <c:pt idx="4">
                  <c:v>4.8990491005152931E-3</c:v>
                </c:pt>
                <c:pt idx="5">
                  <c:v>2.803493997158453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0689545892969434E-2</c:v>
                </c:pt>
                <c:pt idx="1">
                  <c:v>4.6076311566490342E-2</c:v>
                </c:pt>
                <c:pt idx="2">
                  <c:v>5.6441440218281749E-2</c:v>
                </c:pt>
                <c:pt idx="3">
                  <c:v>6.7876128690747148E-2</c:v>
                </c:pt>
                <c:pt idx="4">
                  <c:v>0.17835365104065126</c:v>
                </c:pt>
                <c:pt idx="5">
                  <c:v>7.9182487174735278E-2</c:v>
                </c:pt>
                <c:pt idx="6">
                  <c:v>3.80569049119165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7.3243740375199208E-4</c:v>
                </c:pt>
                <c:pt idx="1">
                  <c:v>1.6380034880776263E-3</c:v>
                </c:pt>
                <c:pt idx="2">
                  <c:v>1.7644037333613471E-2</c:v>
                </c:pt>
                <c:pt idx="3">
                  <c:v>2.0187287348257345E-2</c:v>
                </c:pt>
                <c:pt idx="4">
                  <c:v>2.6736565775955151E-2</c:v>
                </c:pt>
                <c:pt idx="5">
                  <c:v>4.26263053903479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2156215788638701E-3</c:v>
                </c:pt>
                <c:pt idx="3">
                  <c:v>5.3611433946327116E-3</c:v>
                </c:pt>
                <c:pt idx="4">
                  <c:v>1.4681880154110255E-2</c:v>
                </c:pt>
                <c:pt idx="5">
                  <c:v>1.872192493968946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9988640685836626E-3</c:v>
                </c:pt>
                <c:pt idx="1">
                  <c:v>2.441309161033086E-2</c:v>
                </c:pt>
                <c:pt idx="2">
                  <c:v>4.3995472648915013E-2</c:v>
                </c:pt>
                <c:pt idx="3">
                  <c:v>0.12909581140245391</c:v>
                </c:pt>
                <c:pt idx="4">
                  <c:v>0.16431013158785229</c:v>
                </c:pt>
                <c:pt idx="5">
                  <c:v>8.1271042310276542E-2</c:v>
                </c:pt>
                <c:pt idx="6">
                  <c:v>8.13990747794605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0904850122340795E-2</c:v>
                </c:pt>
                <c:pt idx="2">
                  <c:v>6.9463893749893866E-3</c:v>
                </c:pt>
                <c:pt idx="3">
                  <c:v>0.15309090685846943</c:v>
                </c:pt>
                <c:pt idx="4">
                  <c:v>0.21751476129732042</c:v>
                </c:pt>
                <c:pt idx="5">
                  <c:v>9.32366344482651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534258240478993E-2</c:v>
                </c:pt>
                <c:pt idx="3">
                  <c:v>8.97559542339557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9213030948686226E-3</c:v>
                </c:pt>
                <c:pt idx="3">
                  <c:v>6.2283819511418766E-2</c:v>
                </c:pt>
                <c:pt idx="4">
                  <c:v>8.5791676675791347E-3</c:v>
                </c:pt>
                <c:pt idx="5">
                  <c:v>2.752232544909301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4685993279684305E-3</c:v>
                </c:pt>
                <c:pt idx="1">
                  <c:v>2.3628846254854508E-2</c:v>
                </c:pt>
                <c:pt idx="2">
                  <c:v>6.3593948262120961E-3</c:v>
                </c:pt>
                <c:pt idx="3">
                  <c:v>9.4547158118847258E-2</c:v>
                </c:pt>
                <c:pt idx="4">
                  <c:v>0.2388577753854409</c:v>
                </c:pt>
                <c:pt idx="5">
                  <c:v>7.199604821627076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896170947494E-3</c:v>
                </c:pt>
                <c:pt idx="1">
                  <c:v>0.10381350294445126</c:v>
                </c:pt>
                <c:pt idx="2">
                  <c:v>1.3298932772208446E-2</c:v>
                </c:pt>
                <c:pt idx="3">
                  <c:v>0.39976047211771548</c:v>
                </c:pt>
                <c:pt idx="4">
                  <c:v>0.46489119167635218</c:v>
                </c:pt>
                <c:pt idx="5">
                  <c:v>1.67673108721777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3.0912778992076007E-2</c:v>
                </c:pt>
                <c:pt idx="2">
                  <c:v>6.9453748943536595E-3</c:v>
                </c:pt>
                <c:pt idx="3">
                  <c:v>0.1531302469668929</c:v>
                </c:pt>
                <c:pt idx="4">
                  <c:v>0.21757042954675185</c:v>
                </c:pt>
                <c:pt idx="5">
                  <c:v>9.326001936692456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5354406998810798E-2</c:v>
                </c:pt>
                <c:pt idx="3">
                  <c:v>8.977932371618711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9222241833742153E-3</c:v>
                </c:pt>
                <c:pt idx="3">
                  <c:v>6.2324077633608164E-2</c:v>
                </c:pt>
                <c:pt idx="4">
                  <c:v>8.5813108280069494E-3</c:v>
                </c:pt>
                <c:pt idx="5">
                  <c:v>2.695137566034012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4685896170947494E-3</c:v>
                </c:pt>
                <c:pt idx="1">
                  <c:v>2.3624092770190234E-2</c:v>
                </c:pt>
                <c:pt idx="2">
                  <c:v>6.3535578778547855E-3</c:v>
                </c:pt>
                <c:pt idx="3">
                  <c:v>9.4526823801027379E-2</c:v>
                </c:pt>
                <c:pt idx="4">
                  <c:v>0.23873945130159344</c:v>
                </c:pt>
                <c:pt idx="5">
                  <c:v>7.171795178881899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1469999999999998</c:v>
                </c:pt>
                <c:pt idx="2">
                  <c:v>0.22209999999999999</c:v>
                </c:pt>
                <c:pt idx="3">
                  <c:v>0.16370000000000001</c:v>
                </c:pt>
                <c:pt idx="4">
                  <c:v>0.25140000000000001</c:v>
                </c:pt>
                <c:pt idx="5">
                  <c:v>4.7600000000000003E-2</c:v>
                </c:pt>
                <c:pt idx="6">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318959519803473E-3</c:v>
                </c:pt>
                <c:pt idx="1">
                  <c:v>4.329334864300062E-2</c:v>
                </c:pt>
                <c:pt idx="2">
                  <c:v>0.11709217419730092</c:v>
                </c:pt>
                <c:pt idx="3">
                  <c:v>0.24465734611122858</c:v>
                </c:pt>
                <c:pt idx="4">
                  <c:v>0.39320893464598827</c:v>
                </c:pt>
                <c:pt idx="5">
                  <c:v>0.19339064677164633</c:v>
                </c:pt>
                <c:pt idx="6">
                  <c:v>1.125653678854936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90446963220967E-8</c:v>
                </c:pt>
                <c:pt idx="1">
                  <c:v>7.3217106994800949E-3</c:v>
                </c:pt>
                <c:pt idx="2">
                  <c:v>5.1675689328723453E-3</c:v>
                </c:pt>
                <c:pt idx="3">
                  <c:v>3.8081791029285724E-3</c:v>
                </c:pt>
                <c:pt idx="4">
                  <c:v>5.8495849615591159E-3</c:v>
                </c:pt>
                <c:pt idx="5">
                  <c:v>1.1084332256749863E-3</c:v>
                </c:pt>
                <c:pt idx="6">
                  <c:v>1.1678387828221156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094551065857661E-3</c:v>
                </c:pt>
                <c:pt idx="1">
                  <c:v>2.2373605200913908E-2</c:v>
                </c:pt>
                <c:pt idx="2">
                  <c:v>5.1870221414047561E-2</c:v>
                </c:pt>
                <c:pt idx="3">
                  <c:v>7.3242794636750902E-2</c:v>
                </c:pt>
                <c:pt idx="4">
                  <c:v>0.16397549254749844</c:v>
                </c:pt>
                <c:pt idx="5">
                  <c:v>9.0198320318453207E-2</c:v>
                </c:pt>
                <c:pt idx="6">
                  <c:v>9.08147769128748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2.6592031075283671E-6</c:v>
                </c:pt>
                <c:pt idx="1">
                  <c:v>4.5209053515617963E-5</c:v>
                </c:pt>
                <c:pt idx="2">
                  <c:v>4.6531048058047657E-3</c:v>
                </c:pt>
                <c:pt idx="3">
                  <c:v>6.3579147166659298E-3</c:v>
                </c:pt>
                <c:pt idx="4">
                  <c:v>1.9696240841453369E-2</c:v>
                </c:pt>
                <c:pt idx="5">
                  <c:v>1.478944090729939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0">
                  <c:v>1.7286640680279393E-4</c:v>
                </c:pt>
                <c:pt idx="1">
                  <c:v>1.5731670037722409E-3</c:v>
                </c:pt>
                <c:pt idx="2">
                  <c:v>1.0066498536068703E-2</c:v>
                </c:pt>
                <c:pt idx="3">
                  <c:v>1.9074230478585672E-2</c:v>
                </c:pt>
                <c:pt idx="4">
                  <c:v>1.5753939725947116E-2</c:v>
                </c:pt>
                <c:pt idx="5">
                  <c:v>1.947033406049188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3.9618023717427316E-3</c:v>
                </c:pt>
                <c:pt idx="1">
                  <c:v>1.1979656685318762E-2</c:v>
                </c:pt>
                <c:pt idx="2">
                  <c:v>4.5334780508507519E-2</c:v>
                </c:pt>
                <c:pt idx="3">
                  <c:v>0.14217422717629755</c:v>
                </c:pt>
                <c:pt idx="4">
                  <c:v>0.18793367656953017</c:v>
                </c:pt>
                <c:pt idx="5">
                  <c:v>9.8657915730739065E-2</c:v>
                </c:pt>
                <c:pt idx="6">
                  <c:v>2.058275218979670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239999999999997</c:v>
                </c:pt>
                <c:pt idx="2">
                  <c:v>0.27910000000000001</c:v>
                </c:pt>
                <c:pt idx="3">
                  <c:v>3.09E-2</c:v>
                </c:pt>
                <c:pt idx="4">
                  <c:v>0.3024</c:v>
                </c:pt>
                <c:pt idx="5">
                  <c:v>5.4100000000000002E-2</c:v>
                </c:pt>
                <c:pt idx="6">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44E-3</c:v>
                </c:pt>
                <c:pt idx="1">
                  <c:v>3.2119265828930418E-2</c:v>
                </c:pt>
                <c:pt idx="2">
                  <c:v>0.11348140494937228</c:v>
                </c:pt>
                <c:pt idx="3">
                  <c:v>0.23589599597480859</c:v>
                </c:pt>
                <c:pt idx="4">
                  <c:v>0.40814205728880376</c:v>
                </c:pt>
                <c:pt idx="5">
                  <c:v>0.20556364616861456</c:v>
                </c:pt>
                <c:pt idx="6">
                  <c:v>7.166297012213648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152300943159527E-7</c:v>
                </c:pt>
                <c:pt idx="1">
                  <c:v>9.6116834867528214E-3</c:v>
                </c:pt>
                <c:pt idx="2">
                  <c:v>8.0702682118940269E-3</c:v>
                </c:pt>
                <c:pt idx="3">
                  <c:v>8.9468476447193983E-4</c:v>
                </c:pt>
                <c:pt idx="4">
                  <c:v>8.7428205883108116E-3</c:v>
                </c:pt>
                <c:pt idx="5">
                  <c:v>1.5639815268826257E-3</c:v>
                </c:pt>
                <c:pt idx="6">
                  <c:v>3.151811820397546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4958174110288519E-6</c:v>
                </c:pt>
                <c:pt idx="1">
                  <c:v>9.2451416695232998E-3</c:v>
                </c:pt>
                <c:pt idx="2">
                  <c:v>4.0919173330030652E-2</c:v>
                </c:pt>
                <c:pt idx="3">
                  <c:v>5.5159640769974413E-2</c:v>
                </c:pt>
                <c:pt idx="4">
                  <c:v>0.15016308138349577</c:v>
                </c:pt>
                <c:pt idx="5">
                  <c:v>8.0742727458019248E-2</c:v>
                </c:pt>
                <c:pt idx="6">
                  <c:v>6.400562872070248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9805135674046311E-6</c:v>
                </c:pt>
                <c:pt idx="1">
                  <c:v>4.3536867143488152E-6</c:v>
                </c:pt>
                <c:pt idx="2">
                  <c:v>5.3234779363264184E-3</c:v>
                </c:pt>
                <c:pt idx="3">
                  <c:v>7.3885580806643007E-3</c:v>
                </c:pt>
                <c:pt idx="4">
                  <c:v>2.316147177190065E-2</c:v>
                </c:pt>
                <c:pt idx="5">
                  <c:v>9.831010642186118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566037556505814E-3</c:v>
                </c:pt>
                <c:pt idx="2">
                  <c:v>6.1774139088906594E-3</c:v>
                </c:pt>
                <c:pt idx="3">
                  <c:v>6.2881948613748833E-3</c:v>
                </c:pt>
                <c:pt idx="4">
                  <c:v>2.3073758924982701E-2</c:v>
                </c:pt>
                <c:pt idx="5">
                  <c:v>1.499002216502655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0734122342611506E-3</c:v>
                </c:pt>
                <c:pt idx="1">
                  <c:v>1.1001483230289362E-2</c:v>
                </c:pt>
                <c:pt idx="2">
                  <c:v>5.2991071562230534E-2</c:v>
                </c:pt>
                <c:pt idx="3">
                  <c:v>0.16616491749832304</c:v>
                </c:pt>
                <c:pt idx="4">
                  <c:v>0.20300092462011382</c:v>
                </c:pt>
                <c:pt idx="5">
                  <c:v>0.12077483390299143</c:v>
                </c:pt>
                <c:pt idx="6">
                  <c:v>6.211059542966867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34362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98746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75926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6706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45506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63072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73715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1026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40432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32819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20176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882305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038555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295594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41516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777582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209735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477079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6192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3817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9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331954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77145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054486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234853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2896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15576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603797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702652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282476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310068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451885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77728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099991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498818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307604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131231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891902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002917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431936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72772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509963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33852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09667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959349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5224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01770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153773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081189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235329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169083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274534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604175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030380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46857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033979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762226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711759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13307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722162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338825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349165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488569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54592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579273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21789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64371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265618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993205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56934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250635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207556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2310883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306576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735032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155990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33093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13672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956098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977719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922769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3666367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129655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232010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922335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044969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5371651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929564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070972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56819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275574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241896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3754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069</Words>
  <Application>Microsoft Office PowerPoint</Application>
  <PresentationFormat>On-screen Show (16:9)</PresentationFormat>
  <Paragraphs>2302</Paragraphs>
  <Slides>9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2"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4:4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